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  <p:sldMasterId id="2147483777" r:id="rId6"/>
  </p:sldMasterIdLst>
  <p:notesMasterIdLst>
    <p:notesMasterId r:id="rId22"/>
  </p:notesMasterIdLst>
  <p:handoutMasterIdLst>
    <p:handoutMasterId r:id="rId23"/>
  </p:handoutMasterIdLst>
  <p:sldIdLst>
    <p:sldId id="2545" r:id="rId7"/>
    <p:sldId id="2541" r:id="rId8"/>
    <p:sldId id="2543" r:id="rId9"/>
    <p:sldId id="2544" r:id="rId10"/>
    <p:sldId id="2546" r:id="rId11"/>
    <p:sldId id="261" r:id="rId12"/>
    <p:sldId id="2551" r:id="rId13"/>
    <p:sldId id="2548" r:id="rId14"/>
    <p:sldId id="2549" r:id="rId15"/>
    <p:sldId id="2542" r:id="rId16"/>
    <p:sldId id="2547" r:id="rId17"/>
    <p:sldId id="2552" r:id="rId18"/>
    <p:sldId id="2553" r:id="rId19"/>
    <p:sldId id="2554" r:id="rId20"/>
    <p:sldId id="2555" r:id="rId21"/>
  </p:sldIdLst>
  <p:sldSz cx="12192000" cy="6858000"/>
  <p:notesSz cx="6858000" cy="9144000"/>
  <p:custDataLst>
    <p:tags r:id="rId2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dja Schäffer" initials="NS" lastIdx="1" clrIdx="0">
    <p:extLst>
      <p:ext uri="{19B8F6BF-5375-455C-9EA6-DF929625EA0E}">
        <p15:presenceInfo xmlns:p15="http://schemas.microsoft.com/office/powerpoint/2012/main" userId="Nadja Schäff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9721"/>
    <a:srgbClr val="FF3399"/>
    <a:srgbClr val="007398"/>
    <a:srgbClr val="7AE1BF"/>
    <a:srgbClr val="FED880"/>
    <a:srgbClr val="FFA38B"/>
    <a:srgbClr val="000000"/>
    <a:srgbClr val="CFBAA7"/>
    <a:srgbClr val="C6E2E6"/>
    <a:srgbClr val="A7D7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1A6FCA2-5750-41C2-99A7-C3BC4747BD14}" v="253" dt="2019-04-09T22:01:11.13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6" autoAdjust="0"/>
    <p:restoredTop sz="94660"/>
  </p:normalViewPr>
  <p:slideViewPr>
    <p:cSldViewPr snapToGrid="0" showGuides="1">
      <p:cViewPr varScale="1">
        <p:scale>
          <a:sx n="42" d="100"/>
          <a:sy n="42" d="100"/>
        </p:scale>
        <p:origin x="54" y="16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likov, Stefan" userId="cb0f07b0-744d-4c0b-8f92-cdd309909756" providerId="ADAL" clId="{E1A6FCA2-5750-41C2-99A7-C3BC4747BD14}"/>
    <pc:docChg chg="undo custSel addSld delSld modSld sldOrd modMainMaster">
      <pc:chgData name="Velikov, Stefan" userId="cb0f07b0-744d-4c0b-8f92-cdd309909756" providerId="ADAL" clId="{E1A6FCA2-5750-41C2-99A7-C3BC4747BD14}" dt="2019-04-09T22:01:20.439" v="1451" actId="20577"/>
      <pc:docMkLst>
        <pc:docMk/>
      </pc:docMkLst>
      <pc:sldChg chg="del">
        <pc:chgData name="Velikov, Stefan" userId="cb0f07b0-744d-4c0b-8f92-cdd309909756" providerId="ADAL" clId="{E1A6FCA2-5750-41C2-99A7-C3BC4747BD14}" dt="2019-04-09T16:48:11.645" v="107" actId="2696"/>
        <pc:sldMkLst>
          <pc:docMk/>
          <pc:sldMk cId="2874214666" sldId="256"/>
        </pc:sldMkLst>
      </pc:sldChg>
      <pc:sldChg chg="del">
        <pc:chgData name="Velikov, Stefan" userId="cb0f07b0-744d-4c0b-8f92-cdd309909756" providerId="ADAL" clId="{E1A6FCA2-5750-41C2-99A7-C3BC4747BD14}" dt="2019-04-09T16:48:12.236" v="108" actId="2696"/>
        <pc:sldMkLst>
          <pc:docMk/>
          <pc:sldMk cId="1891435768" sldId="257"/>
        </pc:sldMkLst>
      </pc:sldChg>
      <pc:sldChg chg="del">
        <pc:chgData name="Velikov, Stefan" userId="cb0f07b0-744d-4c0b-8f92-cdd309909756" providerId="ADAL" clId="{E1A6FCA2-5750-41C2-99A7-C3BC4747BD14}" dt="2019-04-09T16:48:08.864" v="106" actId="2696"/>
        <pc:sldMkLst>
          <pc:docMk/>
          <pc:sldMk cId="2114780191" sldId="258"/>
        </pc:sldMkLst>
      </pc:sldChg>
      <pc:sldChg chg="del">
        <pc:chgData name="Velikov, Stefan" userId="cb0f07b0-744d-4c0b-8f92-cdd309909756" providerId="ADAL" clId="{E1A6FCA2-5750-41C2-99A7-C3BC4747BD14}" dt="2019-04-09T16:48:07.569" v="105" actId="2696"/>
        <pc:sldMkLst>
          <pc:docMk/>
          <pc:sldMk cId="909862513" sldId="259"/>
        </pc:sldMkLst>
      </pc:sldChg>
      <pc:sldChg chg="del ord">
        <pc:chgData name="Velikov, Stefan" userId="cb0f07b0-744d-4c0b-8f92-cdd309909756" providerId="ADAL" clId="{E1A6FCA2-5750-41C2-99A7-C3BC4747BD14}" dt="2019-04-09T17:09:28.451" v="444" actId="2696"/>
        <pc:sldMkLst>
          <pc:docMk/>
          <pc:sldMk cId="1362554025" sldId="260"/>
        </pc:sldMkLst>
      </pc:sldChg>
      <pc:sldChg chg="delSp modSp ord">
        <pc:chgData name="Velikov, Stefan" userId="cb0f07b0-744d-4c0b-8f92-cdd309909756" providerId="ADAL" clId="{E1A6FCA2-5750-41C2-99A7-C3BC4747BD14}" dt="2019-04-09T21:22:41.337" v="690"/>
        <pc:sldMkLst>
          <pc:docMk/>
          <pc:sldMk cId="4179923834" sldId="261"/>
        </pc:sldMkLst>
        <pc:spChg chg="mod">
          <ac:chgData name="Velikov, Stefan" userId="cb0f07b0-744d-4c0b-8f92-cdd309909756" providerId="ADAL" clId="{E1A6FCA2-5750-41C2-99A7-C3BC4747BD14}" dt="2019-04-09T17:08:59.330" v="442" actId="790"/>
          <ac:spMkLst>
            <pc:docMk/>
            <pc:sldMk cId="4179923834" sldId="261"/>
            <ac:spMk id="2" creationId="{C5F09162-2E75-4889-970F-E2108E4F0EA8}"/>
          </ac:spMkLst>
        </pc:spChg>
        <pc:spChg chg="mod">
          <ac:chgData name="Velikov, Stefan" userId="cb0f07b0-744d-4c0b-8f92-cdd309909756" providerId="ADAL" clId="{E1A6FCA2-5750-41C2-99A7-C3BC4747BD14}" dt="2019-04-09T17:08:55.111" v="441" actId="790"/>
          <ac:spMkLst>
            <pc:docMk/>
            <pc:sldMk cId="4179923834" sldId="261"/>
            <ac:spMk id="3" creationId="{15E110CC-241D-4260-A2A8-5D9649930776}"/>
          </ac:spMkLst>
        </pc:spChg>
        <pc:spChg chg="del">
          <ac:chgData name="Velikov, Stefan" userId="cb0f07b0-744d-4c0b-8f92-cdd309909756" providerId="ADAL" clId="{E1A6FCA2-5750-41C2-99A7-C3BC4747BD14}" dt="2019-04-09T16:46:44.020" v="4" actId="478"/>
          <ac:spMkLst>
            <pc:docMk/>
            <pc:sldMk cId="4179923834" sldId="261"/>
            <ac:spMk id="7" creationId="{AA7DCF42-69BB-432F-890A-D3230D40B360}"/>
          </ac:spMkLst>
        </pc:spChg>
      </pc:sldChg>
      <pc:sldChg chg="del">
        <pc:chgData name="Velikov, Stefan" userId="cb0f07b0-744d-4c0b-8f92-cdd309909756" providerId="ADAL" clId="{E1A6FCA2-5750-41C2-99A7-C3BC4747BD14}" dt="2019-04-09T17:09:29.956" v="485" actId="2696"/>
        <pc:sldMkLst>
          <pc:docMk/>
          <pc:sldMk cId="2824545098" sldId="262"/>
        </pc:sldMkLst>
      </pc:sldChg>
      <pc:sldChg chg="del">
        <pc:chgData name="Velikov, Stefan" userId="cb0f07b0-744d-4c0b-8f92-cdd309909756" providerId="ADAL" clId="{E1A6FCA2-5750-41C2-99A7-C3BC4747BD14}" dt="2019-04-09T17:09:29.933" v="484" actId="2696"/>
        <pc:sldMkLst>
          <pc:docMk/>
          <pc:sldMk cId="1539788525" sldId="263"/>
        </pc:sldMkLst>
      </pc:sldChg>
      <pc:sldChg chg="del">
        <pc:chgData name="Velikov, Stefan" userId="cb0f07b0-744d-4c0b-8f92-cdd309909756" providerId="ADAL" clId="{E1A6FCA2-5750-41C2-99A7-C3BC4747BD14}" dt="2019-04-09T17:09:29.910" v="483" actId="2696"/>
        <pc:sldMkLst>
          <pc:docMk/>
          <pc:sldMk cId="3389669252" sldId="264"/>
        </pc:sldMkLst>
      </pc:sldChg>
      <pc:sldChg chg="del">
        <pc:chgData name="Velikov, Stefan" userId="cb0f07b0-744d-4c0b-8f92-cdd309909756" providerId="ADAL" clId="{E1A6FCA2-5750-41C2-99A7-C3BC4747BD14}" dt="2019-04-09T17:09:29.892" v="482" actId="2696"/>
        <pc:sldMkLst>
          <pc:docMk/>
          <pc:sldMk cId="2778776369" sldId="265"/>
        </pc:sldMkLst>
      </pc:sldChg>
      <pc:sldChg chg="del">
        <pc:chgData name="Velikov, Stefan" userId="cb0f07b0-744d-4c0b-8f92-cdd309909756" providerId="ADAL" clId="{E1A6FCA2-5750-41C2-99A7-C3BC4747BD14}" dt="2019-04-09T17:09:29.867" v="481" actId="2696"/>
        <pc:sldMkLst>
          <pc:docMk/>
          <pc:sldMk cId="597710063" sldId="270"/>
        </pc:sldMkLst>
      </pc:sldChg>
      <pc:sldChg chg="del">
        <pc:chgData name="Velikov, Stefan" userId="cb0f07b0-744d-4c0b-8f92-cdd309909756" providerId="ADAL" clId="{E1A6FCA2-5750-41C2-99A7-C3BC4747BD14}" dt="2019-04-09T17:09:29.774" v="479" actId="2696"/>
        <pc:sldMkLst>
          <pc:docMk/>
          <pc:sldMk cId="847292686" sldId="271"/>
        </pc:sldMkLst>
      </pc:sldChg>
      <pc:sldChg chg="del">
        <pc:chgData name="Velikov, Stefan" userId="cb0f07b0-744d-4c0b-8f92-cdd309909756" providerId="ADAL" clId="{E1A6FCA2-5750-41C2-99A7-C3BC4747BD14}" dt="2019-04-09T17:09:29.835" v="480" actId="2696"/>
        <pc:sldMkLst>
          <pc:docMk/>
          <pc:sldMk cId="153749867" sldId="277"/>
        </pc:sldMkLst>
      </pc:sldChg>
      <pc:sldChg chg="del">
        <pc:chgData name="Velikov, Stefan" userId="cb0f07b0-744d-4c0b-8f92-cdd309909756" providerId="ADAL" clId="{E1A6FCA2-5750-41C2-99A7-C3BC4747BD14}" dt="2019-04-09T17:09:28.912" v="459" actId="2696"/>
        <pc:sldMkLst>
          <pc:docMk/>
          <pc:sldMk cId="3841123898" sldId="278"/>
        </pc:sldMkLst>
      </pc:sldChg>
      <pc:sldChg chg="del">
        <pc:chgData name="Velikov, Stefan" userId="cb0f07b0-744d-4c0b-8f92-cdd309909756" providerId="ADAL" clId="{E1A6FCA2-5750-41C2-99A7-C3BC4747BD14}" dt="2019-04-09T17:09:29.730" v="478" actId="2696"/>
        <pc:sldMkLst>
          <pc:docMk/>
          <pc:sldMk cId="3314388841" sldId="280"/>
        </pc:sldMkLst>
      </pc:sldChg>
      <pc:sldChg chg="del">
        <pc:chgData name="Velikov, Stefan" userId="cb0f07b0-744d-4c0b-8f92-cdd309909756" providerId="ADAL" clId="{E1A6FCA2-5750-41C2-99A7-C3BC4747BD14}" dt="2019-04-09T17:09:29.476" v="476" actId="2696"/>
        <pc:sldMkLst>
          <pc:docMk/>
          <pc:sldMk cId="3667777261" sldId="281"/>
        </pc:sldMkLst>
      </pc:sldChg>
      <pc:sldChg chg="del">
        <pc:chgData name="Velikov, Stefan" userId="cb0f07b0-744d-4c0b-8f92-cdd309909756" providerId="ADAL" clId="{E1A6FCA2-5750-41C2-99A7-C3BC4747BD14}" dt="2019-04-09T17:09:29.552" v="477" actId="2696"/>
        <pc:sldMkLst>
          <pc:docMk/>
          <pc:sldMk cId="729917908" sldId="282"/>
        </pc:sldMkLst>
      </pc:sldChg>
      <pc:sldChg chg="del">
        <pc:chgData name="Velikov, Stefan" userId="cb0f07b0-744d-4c0b-8f92-cdd309909756" providerId="ADAL" clId="{E1A6FCA2-5750-41C2-99A7-C3BC4747BD14}" dt="2019-04-09T17:09:29.007" v="462" actId="2696"/>
        <pc:sldMkLst>
          <pc:docMk/>
          <pc:sldMk cId="480665937" sldId="283"/>
        </pc:sldMkLst>
      </pc:sldChg>
      <pc:sldChg chg="del">
        <pc:chgData name="Velikov, Stefan" userId="cb0f07b0-744d-4c0b-8f92-cdd309909756" providerId="ADAL" clId="{E1A6FCA2-5750-41C2-99A7-C3BC4747BD14}" dt="2019-04-09T17:09:28.959" v="461" actId="2696"/>
        <pc:sldMkLst>
          <pc:docMk/>
          <pc:sldMk cId="1683068246" sldId="284"/>
        </pc:sldMkLst>
      </pc:sldChg>
      <pc:sldChg chg="del">
        <pc:chgData name="Velikov, Stefan" userId="cb0f07b0-744d-4c0b-8f92-cdd309909756" providerId="ADAL" clId="{E1A6FCA2-5750-41C2-99A7-C3BC4747BD14}" dt="2019-04-09T17:09:29.209" v="469" actId="2696"/>
        <pc:sldMkLst>
          <pc:docMk/>
          <pc:sldMk cId="2722430166" sldId="293"/>
        </pc:sldMkLst>
      </pc:sldChg>
      <pc:sldChg chg="del">
        <pc:chgData name="Velikov, Stefan" userId="cb0f07b0-744d-4c0b-8f92-cdd309909756" providerId="ADAL" clId="{E1A6FCA2-5750-41C2-99A7-C3BC4747BD14}" dt="2019-04-09T17:09:28.943" v="460" actId="2696"/>
        <pc:sldMkLst>
          <pc:docMk/>
          <pc:sldMk cId="1100571783" sldId="294"/>
        </pc:sldMkLst>
      </pc:sldChg>
      <pc:sldChg chg="del">
        <pc:chgData name="Velikov, Stefan" userId="cb0f07b0-744d-4c0b-8f92-cdd309909756" providerId="ADAL" clId="{E1A6FCA2-5750-41C2-99A7-C3BC4747BD14}" dt="2019-04-09T17:09:29.408" v="475" actId="2696"/>
        <pc:sldMkLst>
          <pc:docMk/>
          <pc:sldMk cId="700255499" sldId="295"/>
        </pc:sldMkLst>
      </pc:sldChg>
      <pc:sldChg chg="del">
        <pc:chgData name="Velikov, Stefan" userId="cb0f07b0-744d-4c0b-8f92-cdd309909756" providerId="ADAL" clId="{E1A6FCA2-5750-41C2-99A7-C3BC4747BD14}" dt="2019-04-09T17:09:29.377" v="474" actId="2696"/>
        <pc:sldMkLst>
          <pc:docMk/>
          <pc:sldMk cId="2517457022" sldId="296"/>
        </pc:sldMkLst>
      </pc:sldChg>
      <pc:sldChg chg="del">
        <pc:chgData name="Velikov, Stefan" userId="cb0f07b0-744d-4c0b-8f92-cdd309909756" providerId="ADAL" clId="{E1A6FCA2-5750-41C2-99A7-C3BC4747BD14}" dt="2019-04-09T17:09:29.237" v="470" actId="2696"/>
        <pc:sldMkLst>
          <pc:docMk/>
          <pc:sldMk cId="1183458330" sldId="673"/>
        </pc:sldMkLst>
      </pc:sldChg>
      <pc:sldChg chg="del">
        <pc:chgData name="Velikov, Stefan" userId="cb0f07b0-744d-4c0b-8f92-cdd309909756" providerId="ADAL" clId="{E1A6FCA2-5750-41C2-99A7-C3BC4747BD14}" dt="2019-04-09T17:09:29.347" v="473" actId="2696"/>
        <pc:sldMkLst>
          <pc:docMk/>
          <pc:sldMk cId="3730998297" sldId="1024"/>
        </pc:sldMkLst>
      </pc:sldChg>
      <pc:sldChg chg="del">
        <pc:chgData name="Velikov, Stefan" userId="cb0f07b0-744d-4c0b-8f92-cdd309909756" providerId="ADAL" clId="{E1A6FCA2-5750-41C2-99A7-C3BC4747BD14}" dt="2019-04-09T17:09:29.322" v="472" actId="2696"/>
        <pc:sldMkLst>
          <pc:docMk/>
          <pc:sldMk cId="137057594" sldId="2514"/>
        </pc:sldMkLst>
      </pc:sldChg>
      <pc:sldChg chg="del">
        <pc:chgData name="Velikov, Stefan" userId="cb0f07b0-744d-4c0b-8f92-cdd309909756" providerId="ADAL" clId="{E1A6FCA2-5750-41C2-99A7-C3BC4747BD14}" dt="2019-04-09T17:09:29.277" v="471" actId="2696"/>
        <pc:sldMkLst>
          <pc:docMk/>
          <pc:sldMk cId="1375410902" sldId="2515"/>
        </pc:sldMkLst>
      </pc:sldChg>
      <pc:sldChg chg="del">
        <pc:chgData name="Velikov, Stefan" userId="cb0f07b0-744d-4c0b-8f92-cdd309909756" providerId="ADAL" clId="{E1A6FCA2-5750-41C2-99A7-C3BC4747BD14}" dt="2019-04-09T17:09:28.882" v="458" actId="2696"/>
        <pc:sldMkLst>
          <pc:docMk/>
          <pc:sldMk cId="4165744184" sldId="2516"/>
        </pc:sldMkLst>
      </pc:sldChg>
      <pc:sldChg chg="del">
        <pc:chgData name="Velikov, Stefan" userId="cb0f07b0-744d-4c0b-8f92-cdd309909756" providerId="ADAL" clId="{E1A6FCA2-5750-41C2-99A7-C3BC4747BD14}" dt="2019-04-09T17:09:29.138" v="466" actId="2696"/>
        <pc:sldMkLst>
          <pc:docMk/>
          <pc:sldMk cId="419960490" sldId="2521"/>
        </pc:sldMkLst>
      </pc:sldChg>
      <pc:sldChg chg="del">
        <pc:chgData name="Velikov, Stefan" userId="cb0f07b0-744d-4c0b-8f92-cdd309909756" providerId="ADAL" clId="{E1A6FCA2-5750-41C2-99A7-C3BC4747BD14}" dt="2019-04-09T17:09:29.193" v="468" actId="2696"/>
        <pc:sldMkLst>
          <pc:docMk/>
          <pc:sldMk cId="3662471314" sldId="2523"/>
        </pc:sldMkLst>
      </pc:sldChg>
      <pc:sldChg chg="del">
        <pc:chgData name="Velikov, Stefan" userId="cb0f07b0-744d-4c0b-8f92-cdd309909756" providerId="ADAL" clId="{E1A6FCA2-5750-41C2-99A7-C3BC4747BD14}" dt="2019-04-09T17:09:29.170" v="467" actId="2696"/>
        <pc:sldMkLst>
          <pc:docMk/>
          <pc:sldMk cId="3658425758" sldId="2524"/>
        </pc:sldMkLst>
      </pc:sldChg>
      <pc:sldChg chg="del">
        <pc:chgData name="Velikov, Stefan" userId="cb0f07b0-744d-4c0b-8f92-cdd309909756" providerId="ADAL" clId="{E1A6FCA2-5750-41C2-99A7-C3BC4747BD14}" dt="2019-04-09T17:09:29.111" v="465" actId="2696"/>
        <pc:sldMkLst>
          <pc:docMk/>
          <pc:sldMk cId="1828536454" sldId="2525"/>
        </pc:sldMkLst>
      </pc:sldChg>
      <pc:sldChg chg="del">
        <pc:chgData name="Velikov, Stefan" userId="cb0f07b0-744d-4c0b-8f92-cdd309909756" providerId="ADAL" clId="{E1A6FCA2-5750-41C2-99A7-C3BC4747BD14}" dt="2019-04-09T17:09:29.076" v="464" actId="2696"/>
        <pc:sldMkLst>
          <pc:docMk/>
          <pc:sldMk cId="1263591424" sldId="2526"/>
        </pc:sldMkLst>
      </pc:sldChg>
      <pc:sldChg chg="del">
        <pc:chgData name="Velikov, Stefan" userId="cb0f07b0-744d-4c0b-8f92-cdd309909756" providerId="ADAL" clId="{E1A6FCA2-5750-41C2-99A7-C3BC4747BD14}" dt="2019-04-09T17:09:28.724" v="453" actId="2696"/>
        <pc:sldMkLst>
          <pc:docMk/>
          <pc:sldMk cId="3431013202" sldId="2527"/>
        </pc:sldMkLst>
      </pc:sldChg>
      <pc:sldChg chg="del">
        <pc:chgData name="Velikov, Stefan" userId="cb0f07b0-744d-4c0b-8f92-cdd309909756" providerId="ADAL" clId="{E1A6FCA2-5750-41C2-99A7-C3BC4747BD14}" dt="2019-04-09T17:09:28.685" v="452" actId="2696"/>
        <pc:sldMkLst>
          <pc:docMk/>
          <pc:sldMk cId="207978573" sldId="2528"/>
        </pc:sldMkLst>
      </pc:sldChg>
      <pc:sldChg chg="del">
        <pc:chgData name="Velikov, Stefan" userId="cb0f07b0-744d-4c0b-8f92-cdd309909756" providerId="ADAL" clId="{E1A6FCA2-5750-41C2-99A7-C3BC4747BD14}" dt="2019-04-09T17:09:28.626" v="450" actId="2696"/>
        <pc:sldMkLst>
          <pc:docMk/>
          <pc:sldMk cId="2067211308" sldId="2529"/>
        </pc:sldMkLst>
      </pc:sldChg>
      <pc:sldChg chg="del">
        <pc:chgData name="Velikov, Stefan" userId="cb0f07b0-744d-4c0b-8f92-cdd309909756" providerId="ADAL" clId="{E1A6FCA2-5750-41C2-99A7-C3BC4747BD14}" dt="2019-04-09T17:09:28.596" v="449" actId="2696"/>
        <pc:sldMkLst>
          <pc:docMk/>
          <pc:sldMk cId="716275407" sldId="2530"/>
        </pc:sldMkLst>
      </pc:sldChg>
      <pc:sldChg chg="del">
        <pc:chgData name="Velikov, Stefan" userId="cb0f07b0-744d-4c0b-8f92-cdd309909756" providerId="ADAL" clId="{E1A6FCA2-5750-41C2-99A7-C3BC4747BD14}" dt="2019-04-09T17:09:28.570" v="448" actId="2696"/>
        <pc:sldMkLst>
          <pc:docMk/>
          <pc:sldMk cId="3782315148" sldId="2531"/>
        </pc:sldMkLst>
      </pc:sldChg>
      <pc:sldChg chg="del">
        <pc:chgData name="Velikov, Stefan" userId="cb0f07b0-744d-4c0b-8f92-cdd309909756" providerId="ADAL" clId="{E1A6FCA2-5750-41C2-99A7-C3BC4747BD14}" dt="2019-04-09T17:09:28.544" v="447" actId="2696"/>
        <pc:sldMkLst>
          <pc:docMk/>
          <pc:sldMk cId="1150473331" sldId="2532"/>
        </pc:sldMkLst>
      </pc:sldChg>
      <pc:sldChg chg="del">
        <pc:chgData name="Velikov, Stefan" userId="cb0f07b0-744d-4c0b-8f92-cdd309909756" providerId="ADAL" clId="{E1A6FCA2-5750-41C2-99A7-C3BC4747BD14}" dt="2019-04-09T17:09:28.512" v="446" actId="2696"/>
        <pc:sldMkLst>
          <pc:docMk/>
          <pc:sldMk cId="2859931806" sldId="2533"/>
        </pc:sldMkLst>
      </pc:sldChg>
      <pc:sldChg chg="del">
        <pc:chgData name="Velikov, Stefan" userId="cb0f07b0-744d-4c0b-8f92-cdd309909756" providerId="ADAL" clId="{E1A6FCA2-5750-41C2-99A7-C3BC4747BD14}" dt="2019-04-09T17:09:28.479" v="445" actId="2696"/>
        <pc:sldMkLst>
          <pc:docMk/>
          <pc:sldMk cId="451625044" sldId="2534"/>
        </pc:sldMkLst>
      </pc:sldChg>
      <pc:sldChg chg="del">
        <pc:chgData name="Velikov, Stefan" userId="cb0f07b0-744d-4c0b-8f92-cdd309909756" providerId="ADAL" clId="{E1A6FCA2-5750-41C2-99A7-C3BC4747BD14}" dt="2019-04-09T17:09:28.853" v="457" actId="2696"/>
        <pc:sldMkLst>
          <pc:docMk/>
          <pc:sldMk cId="2927258405" sldId="2535"/>
        </pc:sldMkLst>
      </pc:sldChg>
      <pc:sldChg chg="del">
        <pc:chgData name="Velikov, Stefan" userId="cb0f07b0-744d-4c0b-8f92-cdd309909756" providerId="ADAL" clId="{E1A6FCA2-5750-41C2-99A7-C3BC4747BD14}" dt="2019-04-09T17:09:28.817" v="456" actId="2696"/>
        <pc:sldMkLst>
          <pc:docMk/>
          <pc:sldMk cId="2429156799" sldId="2537"/>
        </pc:sldMkLst>
      </pc:sldChg>
      <pc:sldChg chg="del">
        <pc:chgData name="Velikov, Stefan" userId="cb0f07b0-744d-4c0b-8f92-cdd309909756" providerId="ADAL" clId="{E1A6FCA2-5750-41C2-99A7-C3BC4747BD14}" dt="2019-04-09T17:09:28.790" v="455" actId="2696"/>
        <pc:sldMkLst>
          <pc:docMk/>
          <pc:sldMk cId="2988967372" sldId="2538"/>
        </pc:sldMkLst>
      </pc:sldChg>
      <pc:sldChg chg="del">
        <pc:chgData name="Velikov, Stefan" userId="cb0f07b0-744d-4c0b-8f92-cdd309909756" providerId="ADAL" clId="{E1A6FCA2-5750-41C2-99A7-C3BC4747BD14}" dt="2019-04-09T17:09:28.757" v="454" actId="2696"/>
        <pc:sldMkLst>
          <pc:docMk/>
          <pc:sldMk cId="2013810563" sldId="2539"/>
        </pc:sldMkLst>
      </pc:sldChg>
      <pc:sldChg chg="del">
        <pc:chgData name="Velikov, Stefan" userId="cb0f07b0-744d-4c0b-8f92-cdd309909756" providerId="ADAL" clId="{E1A6FCA2-5750-41C2-99A7-C3BC4747BD14}" dt="2019-04-09T17:09:28.656" v="451" actId="2696"/>
        <pc:sldMkLst>
          <pc:docMk/>
          <pc:sldMk cId="1309438577" sldId="2540"/>
        </pc:sldMkLst>
      </pc:sldChg>
      <pc:sldChg chg="addSp modSp ord modTransition modAnim">
        <pc:chgData name="Velikov, Stefan" userId="cb0f07b0-744d-4c0b-8f92-cdd309909756" providerId="ADAL" clId="{E1A6FCA2-5750-41C2-99A7-C3BC4747BD14}" dt="2019-04-09T17:18:23.272" v="605" actId="2085"/>
        <pc:sldMkLst>
          <pc:docMk/>
          <pc:sldMk cId="4205003440" sldId="2541"/>
        </pc:sldMkLst>
        <pc:spChg chg="mod">
          <ac:chgData name="Velikov, Stefan" userId="cb0f07b0-744d-4c0b-8f92-cdd309909756" providerId="ADAL" clId="{E1A6FCA2-5750-41C2-99A7-C3BC4747BD14}" dt="2019-04-09T17:10:30.622" v="526" actId="20577"/>
          <ac:spMkLst>
            <pc:docMk/>
            <pc:sldMk cId="4205003440" sldId="2541"/>
            <ac:spMk id="5" creationId="{45F8D310-D805-4432-843C-05DF138DB26C}"/>
          </ac:spMkLst>
        </pc:spChg>
        <pc:spChg chg="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6" creationId="{FE0B2035-24EF-47DF-8F00-FAADA6B457B9}"/>
          </ac:spMkLst>
        </pc:spChg>
        <pc:spChg chg="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7" creationId="{6EEE8421-DA16-4988-830E-112549720346}"/>
          </ac:spMkLst>
        </pc:spChg>
        <pc:spChg chg="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8" creationId="{BD950E13-D68C-4FA1-B02A-4CAF08E2F72D}"/>
          </ac:spMkLst>
        </pc:spChg>
        <pc:spChg chg="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9" creationId="{3245FA8E-9C14-4CB6-A694-5AA49E575702}"/>
          </ac:spMkLst>
        </pc:spChg>
        <pc:spChg chg="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10" creationId="{7670AE1A-F5D6-44C2-901C-E5C295EED7C9}"/>
          </ac:spMkLst>
        </pc:spChg>
        <pc:spChg chg="add 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12" creationId="{6F5E5F3D-DA51-4D4A-9A80-D3D8FAF89CC0}"/>
          </ac:spMkLst>
        </pc:spChg>
        <pc:spChg chg="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13" creationId="{113C02C6-D02E-46F6-B768-C273ABF76E16}"/>
          </ac:spMkLst>
        </pc:spChg>
        <pc:spChg chg="add mod">
          <ac:chgData name="Velikov, Stefan" userId="cb0f07b0-744d-4c0b-8f92-cdd309909756" providerId="ADAL" clId="{E1A6FCA2-5750-41C2-99A7-C3BC4747BD14}" dt="2019-04-09T17:16:05.409" v="593" actId="1076"/>
          <ac:spMkLst>
            <pc:docMk/>
            <pc:sldMk cId="4205003440" sldId="2541"/>
            <ac:spMk id="14" creationId="{B6D8AA1E-A1CE-4959-AFA9-FBE4C5F2E4F8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15" creationId="{EB810F77-0B25-49E6-A784-9F910240B82D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16" creationId="{4C5DEF8F-8965-4574-BE6D-4B567C4ED5BA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17" creationId="{E0290310-9B78-4D6F-903E-60BB9A69EDA7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18" creationId="{EFE5FA58-4D51-41C1-A27B-0FBD4ED79EB3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19" creationId="{C3C3A39D-2EDB-48A6-A10A-B9B5103822BE}"/>
          </ac:spMkLst>
        </pc:spChg>
        <pc:spChg chg="add mod">
          <ac:chgData name="Velikov, Stefan" userId="cb0f07b0-744d-4c0b-8f92-cdd309909756" providerId="ADAL" clId="{E1A6FCA2-5750-41C2-99A7-C3BC4747BD14}" dt="2019-04-09T17:16:48.308" v="601" actId="207"/>
          <ac:spMkLst>
            <pc:docMk/>
            <pc:sldMk cId="4205003440" sldId="2541"/>
            <ac:spMk id="20" creationId="{92DBE168-234B-43A0-B052-1993962E45F6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21" creationId="{22203F62-F660-4C9A-876C-C8C9E5F01730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22" creationId="{0D0EB770-2708-4BF4-90BB-EC2AA852B6D4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23" creationId="{C1F09846-4710-4E20-910E-3154EA157B8E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24" creationId="{A8A473A0-E68F-4944-8A7F-9E42C246D603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25" creationId="{E0A90AA7-170E-47EE-A5BA-BCE4D8EDFDBB}"/>
          </ac:spMkLst>
        </pc:spChg>
        <pc:spChg chg="add mod">
          <ac:chgData name="Velikov, Stefan" userId="cb0f07b0-744d-4c0b-8f92-cdd309909756" providerId="ADAL" clId="{E1A6FCA2-5750-41C2-99A7-C3BC4747BD14}" dt="2019-04-09T17:15:17.299" v="585" actId="1076"/>
          <ac:spMkLst>
            <pc:docMk/>
            <pc:sldMk cId="4205003440" sldId="2541"/>
            <ac:spMk id="26" creationId="{467FBF25-9552-4FDF-864A-551716E4706A}"/>
          </ac:spMkLst>
        </pc:spChg>
        <pc:spChg chg="add mod">
          <ac:chgData name="Velikov, Stefan" userId="cb0f07b0-744d-4c0b-8f92-cdd309909756" providerId="ADAL" clId="{E1A6FCA2-5750-41C2-99A7-C3BC4747BD14}" dt="2019-04-09T17:16:42.743" v="600" actId="207"/>
          <ac:spMkLst>
            <pc:docMk/>
            <pc:sldMk cId="4205003440" sldId="2541"/>
            <ac:spMk id="31" creationId="{B635A92F-5A9D-4782-B22F-663C500BB3E2}"/>
          </ac:spMkLst>
        </pc:spChg>
        <pc:spChg chg="add mod">
          <ac:chgData name="Velikov, Stefan" userId="cb0f07b0-744d-4c0b-8f92-cdd309909756" providerId="ADAL" clId="{E1A6FCA2-5750-41C2-99A7-C3BC4747BD14}" dt="2019-04-09T17:18:23.272" v="605" actId="2085"/>
          <ac:spMkLst>
            <pc:docMk/>
            <pc:sldMk cId="4205003440" sldId="2541"/>
            <ac:spMk id="32" creationId="{7399C1B6-1368-4CC5-9F5C-AADBF369447E}"/>
          </ac:spMkLst>
        </pc:spChg>
        <pc:cxnChg chg="add mod">
          <ac:chgData name="Velikov, Stefan" userId="cb0f07b0-744d-4c0b-8f92-cdd309909756" providerId="ADAL" clId="{E1A6FCA2-5750-41C2-99A7-C3BC4747BD14}" dt="2019-04-09T17:16:15.704" v="594" actId="11529"/>
          <ac:cxnSpMkLst>
            <pc:docMk/>
            <pc:sldMk cId="4205003440" sldId="2541"/>
            <ac:cxnSpMk id="27" creationId="{A7FC14FE-07D1-4396-8122-D4D43547DEB2}"/>
          </ac:cxnSpMkLst>
        </pc:cxnChg>
        <pc:cxnChg chg="add mod">
          <ac:chgData name="Velikov, Stefan" userId="cb0f07b0-744d-4c0b-8f92-cdd309909756" providerId="ADAL" clId="{E1A6FCA2-5750-41C2-99A7-C3BC4747BD14}" dt="2019-04-09T17:16:24.511" v="597" actId="14100"/>
          <ac:cxnSpMkLst>
            <pc:docMk/>
            <pc:sldMk cId="4205003440" sldId="2541"/>
            <ac:cxnSpMk id="28" creationId="{051F0E2E-55F0-4135-B98D-E7344899B886}"/>
          </ac:cxnSpMkLst>
        </pc:cxnChg>
      </pc:sldChg>
      <pc:sldChg chg="add">
        <pc:chgData name="Velikov, Stefan" userId="cb0f07b0-744d-4c0b-8f92-cdd309909756" providerId="ADAL" clId="{E1A6FCA2-5750-41C2-99A7-C3BC4747BD14}" dt="2019-04-09T16:47:56.881" v="88"/>
        <pc:sldMkLst>
          <pc:docMk/>
          <pc:sldMk cId="2873111449" sldId="2542"/>
        </pc:sldMkLst>
      </pc:sldChg>
      <pc:sldChg chg="addSp delSp modSp add delAnim modAnim">
        <pc:chgData name="Velikov, Stefan" userId="cb0f07b0-744d-4c0b-8f92-cdd309909756" providerId="ADAL" clId="{E1A6FCA2-5750-41C2-99A7-C3BC4747BD14}" dt="2019-04-09T17:18:25.924" v="606"/>
        <pc:sldMkLst>
          <pc:docMk/>
          <pc:sldMk cId="435911275" sldId="2543"/>
        </pc:sldMkLst>
        <pc:spChg chg="mod">
          <ac:chgData name="Velikov, Stefan" userId="cb0f07b0-744d-4c0b-8f92-cdd309909756" providerId="ADAL" clId="{E1A6FCA2-5750-41C2-99A7-C3BC4747BD14}" dt="2019-04-09T16:53:32.118" v="330" actId="20577"/>
          <ac:spMkLst>
            <pc:docMk/>
            <pc:sldMk cId="435911275" sldId="2543"/>
            <ac:spMk id="5" creationId="{45F8D310-D805-4432-843C-05DF138DB26C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6" creationId="{FE0B2035-24EF-47DF-8F00-FAADA6B457B9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7" creationId="{6EEE8421-DA16-4988-830E-112549720346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8" creationId="{BD950E13-D68C-4FA1-B02A-4CAF08E2F72D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9" creationId="{3245FA8E-9C14-4CB6-A694-5AA49E575702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10" creationId="{7670AE1A-F5D6-44C2-901C-E5C295EED7C9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12" creationId="{6F5E5F3D-DA51-4D4A-9A80-D3D8FAF89CC0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13" creationId="{113C02C6-D02E-46F6-B768-C273ABF76E16}"/>
          </ac:spMkLst>
        </pc:spChg>
        <pc:spChg chg="del">
          <ac:chgData name="Velikov, Stefan" userId="cb0f07b0-744d-4c0b-8f92-cdd309909756" providerId="ADAL" clId="{E1A6FCA2-5750-41C2-99A7-C3BC4747BD14}" dt="2019-04-09T16:53:24.767" v="319" actId="478"/>
          <ac:spMkLst>
            <pc:docMk/>
            <pc:sldMk cId="435911275" sldId="2543"/>
            <ac:spMk id="14" creationId="{B6D8AA1E-A1CE-4959-AFA9-FBE4C5F2E4F8}"/>
          </ac:spMkLst>
        </pc:spChg>
        <pc:spChg chg="add mod">
          <ac:chgData name="Velikov, Stefan" userId="cb0f07b0-744d-4c0b-8f92-cdd309909756" providerId="ADAL" clId="{E1A6FCA2-5750-41C2-99A7-C3BC4747BD14}" dt="2019-04-09T16:54:02.303" v="334" actId="113"/>
          <ac:spMkLst>
            <pc:docMk/>
            <pc:sldMk cId="435911275" sldId="2543"/>
            <ac:spMk id="15" creationId="{07840D78-E464-4CB8-ADA3-946E9D587652}"/>
          </ac:spMkLst>
        </pc:spChg>
        <pc:spChg chg="add mod">
          <ac:chgData name="Velikov, Stefan" userId="cb0f07b0-744d-4c0b-8f92-cdd309909756" providerId="ADAL" clId="{E1A6FCA2-5750-41C2-99A7-C3BC4747BD14}" dt="2019-04-09T16:55:25.408" v="431" actId="20577"/>
          <ac:spMkLst>
            <pc:docMk/>
            <pc:sldMk cId="435911275" sldId="2543"/>
            <ac:spMk id="16" creationId="{D96734E2-D388-4377-B643-830A6DE03A2D}"/>
          </ac:spMkLst>
        </pc:spChg>
        <pc:spChg chg="add">
          <ac:chgData name="Velikov, Stefan" userId="cb0f07b0-744d-4c0b-8f92-cdd309909756" providerId="ADAL" clId="{E1A6FCA2-5750-41C2-99A7-C3BC4747BD14}" dt="2019-04-09T17:18:25.924" v="606"/>
          <ac:spMkLst>
            <pc:docMk/>
            <pc:sldMk cId="435911275" sldId="2543"/>
            <ac:spMk id="17" creationId="{BA2683F4-6CD0-47F6-8616-5B45F6864DDE}"/>
          </ac:spMkLst>
        </pc:spChg>
      </pc:sldChg>
      <pc:sldChg chg="addSp delSp modSp add delAnim">
        <pc:chgData name="Velikov, Stefan" userId="cb0f07b0-744d-4c0b-8f92-cdd309909756" providerId="ADAL" clId="{E1A6FCA2-5750-41C2-99A7-C3BC4747BD14}" dt="2019-04-09T17:19:16.225" v="687" actId="20577"/>
        <pc:sldMkLst>
          <pc:docMk/>
          <pc:sldMk cId="1037534146" sldId="2544"/>
        </pc:sldMkLst>
        <pc:spChg chg="mod ord">
          <ac:chgData name="Velikov, Stefan" userId="cb0f07b0-744d-4c0b-8f92-cdd309909756" providerId="ADAL" clId="{E1A6FCA2-5750-41C2-99A7-C3BC4747BD14}" dt="2019-04-09T17:19:16.225" v="687" actId="20577"/>
          <ac:spMkLst>
            <pc:docMk/>
            <pc:sldMk cId="1037534146" sldId="2544"/>
            <ac:spMk id="5" creationId="{45F8D310-D805-4432-843C-05DF138DB26C}"/>
          </ac:spMkLst>
        </pc:spChg>
        <pc:spChg chg="add ord">
          <ac:chgData name="Velikov, Stefan" userId="cb0f07b0-744d-4c0b-8f92-cdd309909756" providerId="ADAL" clId="{E1A6FCA2-5750-41C2-99A7-C3BC4747BD14}" dt="2019-04-09T17:18:30.256" v="609" actId="167"/>
          <ac:spMkLst>
            <pc:docMk/>
            <pc:sldMk cId="1037534146" sldId="2544"/>
            <ac:spMk id="9" creationId="{7EFA4177-B1AF-4F15-A046-BCA3E1F4614B}"/>
          </ac:spMkLst>
        </pc:spChg>
        <pc:spChg chg="del">
          <ac:chgData name="Velikov, Stefan" userId="cb0f07b0-744d-4c0b-8f92-cdd309909756" providerId="ADAL" clId="{E1A6FCA2-5750-41C2-99A7-C3BC4747BD14}" dt="2019-04-09T17:07:39.564" v="433" actId="478"/>
          <ac:spMkLst>
            <pc:docMk/>
            <pc:sldMk cId="1037534146" sldId="2544"/>
            <ac:spMk id="15" creationId="{07840D78-E464-4CB8-ADA3-946E9D587652}"/>
          </ac:spMkLst>
        </pc:spChg>
        <pc:spChg chg="del">
          <ac:chgData name="Velikov, Stefan" userId="cb0f07b0-744d-4c0b-8f92-cdd309909756" providerId="ADAL" clId="{E1A6FCA2-5750-41C2-99A7-C3BC4747BD14}" dt="2019-04-09T17:07:39.564" v="433" actId="478"/>
          <ac:spMkLst>
            <pc:docMk/>
            <pc:sldMk cId="1037534146" sldId="2544"/>
            <ac:spMk id="16" creationId="{D96734E2-D388-4377-B643-830A6DE03A2D}"/>
          </ac:spMkLst>
        </pc:spChg>
        <pc:picChg chg="add mod">
          <ac:chgData name="Velikov, Stefan" userId="cb0f07b0-744d-4c0b-8f92-cdd309909756" providerId="ADAL" clId="{E1A6FCA2-5750-41C2-99A7-C3BC4747BD14}" dt="2019-04-09T17:08:25.199" v="437" actId="1076"/>
          <ac:picMkLst>
            <pc:docMk/>
            <pc:sldMk cId="1037534146" sldId="2544"/>
            <ac:picMk id="6" creationId="{F66CCF38-8662-4062-918C-8391F9DDC7CA}"/>
          </ac:picMkLst>
        </pc:picChg>
      </pc:sldChg>
      <pc:sldChg chg="modSp add ord">
        <pc:chgData name="Velikov, Stefan" userId="cb0f07b0-744d-4c0b-8f92-cdd309909756" providerId="ADAL" clId="{E1A6FCA2-5750-41C2-99A7-C3BC4747BD14}" dt="2019-04-09T17:10:04.213" v="513" actId="20577"/>
        <pc:sldMkLst>
          <pc:docMk/>
          <pc:sldMk cId="2703618631" sldId="2545"/>
        </pc:sldMkLst>
        <pc:spChg chg="mod">
          <ac:chgData name="Velikov, Stefan" userId="cb0f07b0-744d-4c0b-8f92-cdd309909756" providerId="ADAL" clId="{E1A6FCA2-5750-41C2-99A7-C3BC4747BD14}" dt="2019-04-09T17:09:54.328" v="489" actId="20577"/>
          <ac:spMkLst>
            <pc:docMk/>
            <pc:sldMk cId="2703618631" sldId="2545"/>
            <ac:spMk id="2" creationId="{C5F09162-2E75-4889-970F-E2108E4F0EA8}"/>
          </ac:spMkLst>
        </pc:spChg>
        <pc:spChg chg="mod">
          <ac:chgData name="Velikov, Stefan" userId="cb0f07b0-744d-4c0b-8f92-cdd309909756" providerId="ADAL" clId="{E1A6FCA2-5750-41C2-99A7-C3BC4747BD14}" dt="2019-04-09T17:10:04.213" v="513" actId="20577"/>
          <ac:spMkLst>
            <pc:docMk/>
            <pc:sldMk cId="2703618631" sldId="2545"/>
            <ac:spMk id="3" creationId="{15E110CC-241D-4260-A2A8-5D9649930776}"/>
          </ac:spMkLst>
        </pc:spChg>
      </pc:sldChg>
      <pc:sldChg chg="addSp delSp modSp add ord">
        <pc:chgData name="Velikov, Stefan" userId="cb0f07b0-744d-4c0b-8f92-cdd309909756" providerId="ADAL" clId="{E1A6FCA2-5750-41C2-99A7-C3BC4747BD14}" dt="2019-04-09T21:48:16.089" v="1183" actId="20577"/>
        <pc:sldMkLst>
          <pc:docMk/>
          <pc:sldMk cId="2234390437" sldId="2546"/>
        </pc:sldMkLst>
        <pc:spChg chg="add">
          <ac:chgData name="Velikov, Stefan" userId="cb0f07b0-744d-4c0b-8f92-cdd309909756" providerId="ADAL" clId="{E1A6FCA2-5750-41C2-99A7-C3BC4747BD14}" dt="2019-04-09T17:18:26.835" v="607"/>
          <ac:spMkLst>
            <pc:docMk/>
            <pc:sldMk cId="2234390437" sldId="2546"/>
            <ac:spMk id="5" creationId="{DCAE4382-0DAC-45A4-8376-C7F3B51E28EB}"/>
          </ac:spMkLst>
        </pc:spChg>
        <pc:spChg chg="add mod">
          <ac:chgData name="Velikov, Stefan" userId="cb0f07b0-744d-4c0b-8f92-cdd309909756" providerId="ADAL" clId="{E1A6FCA2-5750-41C2-99A7-C3BC4747BD14}" dt="2019-04-09T21:23:03.841" v="697" actId="20577"/>
          <ac:spMkLst>
            <pc:docMk/>
            <pc:sldMk cId="2234390437" sldId="2546"/>
            <ac:spMk id="6" creationId="{B4DC0C63-A224-4FDB-8B68-D7197B27FB28}"/>
          </ac:spMkLst>
        </pc:spChg>
        <pc:spChg chg="add mod">
          <ac:chgData name="Velikov, Stefan" userId="cb0f07b0-744d-4c0b-8f92-cdd309909756" providerId="ADAL" clId="{E1A6FCA2-5750-41C2-99A7-C3BC4747BD14}" dt="2019-04-09T21:48:16.089" v="1183" actId="20577"/>
          <ac:spMkLst>
            <pc:docMk/>
            <pc:sldMk cId="2234390437" sldId="2546"/>
            <ac:spMk id="7" creationId="{60832180-CD78-45FD-A7D2-F342F1074F42}"/>
          </ac:spMkLst>
        </pc:spChg>
        <pc:spChg chg="add del mod">
          <ac:chgData name="Velikov, Stefan" userId="cb0f07b0-744d-4c0b-8f92-cdd309909756" providerId="ADAL" clId="{E1A6FCA2-5750-41C2-99A7-C3BC4747BD14}" dt="2019-04-09T21:46:51.263" v="1100" actId="478"/>
          <ac:spMkLst>
            <pc:docMk/>
            <pc:sldMk cId="2234390437" sldId="2546"/>
            <ac:spMk id="8" creationId="{78B4E915-48C3-4488-A30F-C8ECA27BAA16}"/>
          </ac:spMkLst>
        </pc:spChg>
      </pc:sldChg>
      <pc:sldChg chg="addSp delSp modSp add">
        <pc:chgData name="Velikov, Stefan" userId="cb0f07b0-744d-4c0b-8f92-cdd309909756" providerId="ADAL" clId="{E1A6FCA2-5750-41C2-99A7-C3BC4747BD14}" dt="2019-04-09T21:45:48.789" v="1083" actId="20577"/>
        <pc:sldMkLst>
          <pc:docMk/>
          <pc:sldMk cId="3722519875" sldId="2547"/>
        </pc:sldMkLst>
        <pc:spChg chg="mod">
          <ac:chgData name="Velikov, Stefan" userId="cb0f07b0-744d-4c0b-8f92-cdd309909756" providerId="ADAL" clId="{E1A6FCA2-5750-41C2-99A7-C3BC4747BD14}" dt="2019-04-09T21:43:07.396" v="918" actId="20577"/>
          <ac:spMkLst>
            <pc:docMk/>
            <pc:sldMk cId="3722519875" sldId="2547"/>
            <ac:spMk id="6" creationId="{B4DC0C63-A224-4FDB-8B68-D7197B27FB28}"/>
          </ac:spMkLst>
        </pc:spChg>
        <pc:spChg chg="del mod">
          <ac:chgData name="Velikov, Stefan" userId="cb0f07b0-744d-4c0b-8f92-cdd309909756" providerId="ADAL" clId="{E1A6FCA2-5750-41C2-99A7-C3BC4747BD14}" dt="2019-04-09T21:41:10.141" v="815" actId="478"/>
          <ac:spMkLst>
            <pc:docMk/>
            <pc:sldMk cId="3722519875" sldId="2547"/>
            <ac:spMk id="7" creationId="{60832180-CD78-45FD-A7D2-F342F1074F42}"/>
          </ac:spMkLst>
        </pc:spChg>
        <pc:spChg chg="mod">
          <ac:chgData name="Velikov, Stefan" userId="cb0f07b0-744d-4c0b-8f92-cdd309909756" providerId="ADAL" clId="{E1A6FCA2-5750-41C2-99A7-C3BC4747BD14}" dt="2019-04-09T21:45:48.789" v="1083" actId="20577"/>
          <ac:spMkLst>
            <pc:docMk/>
            <pc:sldMk cId="3722519875" sldId="2547"/>
            <ac:spMk id="8" creationId="{78B4E915-48C3-4488-A30F-C8ECA27BAA16}"/>
          </ac:spMkLst>
        </pc:spChg>
        <pc:spChg chg="add del mod">
          <ac:chgData name="Velikov, Stefan" userId="cb0f07b0-744d-4c0b-8f92-cdd309909756" providerId="ADAL" clId="{E1A6FCA2-5750-41C2-99A7-C3BC4747BD14}" dt="2019-04-09T21:41:11.829" v="816" actId="478"/>
          <ac:spMkLst>
            <pc:docMk/>
            <pc:sldMk cId="3722519875" sldId="2547"/>
            <ac:spMk id="10" creationId="{A9496E16-4021-4D3A-BBBB-A4217680D13A}"/>
          </ac:spMkLst>
        </pc:spChg>
        <pc:picChg chg="add mod">
          <ac:chgData name="Velikov, Stefan" userId="cb0f07b0-744d-4c0b-8f92-cdd309909756" providerId="ADAL" clId="{E1A6FCA2-5750-41C2-99A7-C3BC4747BD14}" dt="2019-04-09T21:43:11.595" v="919" actId="14100"/>
          <ac:picMkLst>
            <pc:docMk/>
            <pc:sldMk cId="3722519875" sldId="2547"/>
            <ac:picMk id="11" creationId="{E6E7BF74-2BBE-4A7F-93CC-9468530D0966}"/>
          </ac:picMkLst>
        </pc:picChg>
      </pc:sldChg>
      <pc:sldChg chg="addSp delSp modSp add ord">
        <pc:chgData name="Velikov, Stefan" userId="cb0f07b0-744d-4c0b-8f92-cdd309909756" providerId="ADAL" clId="{E1A6FCA2-5750-41C2-99A7-C3BC4747BD14}" dt="2019-04-09T21:51:08.435" v="1209" actId="20577"/>
        <pc:sldMkLst>
          <pc:docMk/>
          <pc:sldMk cId="1989308942" sldId="2548"/>
        </pc:sldMkLst>
        <pc:spChg chg="mod">
          <ac:chgData name="Velikov, Stefan" userId="cb0f07b0-744d-4c0b-8f92-cdd309909756" providerId="ADAL" clId="{E1A6FCA2-5750-41C2-99A7-C3BC4747BD14}" dt="2019-04-09T21:51:08.435" v="1209" actId="20577"/>
          <ac:spMkLst>
            <pc:docMk/>
            <pc:sldMk cId="1989308942" sldId="2548"/>
            <ac:spMk id="6" creationId="{B4DC0C63-A224-4FDB-8B68-D7197B27FB28}"/>
          </ac:spMkLst>
        </pc:spChg>
        <pc:spChg chg="del">
          <ac:chgData name="Velikov, Stefan" userId="cb0f07b0-744d-4c0b-8f92-cdd309909756" providerId="ADAL" clId="{E1A6FCA2-5750-41C2-99A7-C3BC4747BD14}" dt="2019-04-09T21:49:57.781" v="1194" actId="478"/>
          <ac:spMkLst>
            <pc:docMk/>
            <pc:sldMk cId="1989308942" sldId="2548"/>
            <ac:spMk id="7" creationId="{60832180-CD78-45FD-A7D2-F342F1074F42}"/>
          </ac:spMkLst>
        </pc:spChg>
        <pc:spChg chg="add del mod">
          <ac:chgData name="Velikov, Stefan" userId="cb0f07b0-744d-4c0b-8f92-cdd309909756" providerId="ADAL" clId="{E1A6FCA2-5750-41C2-99A7-C3BC4747BD14}" dt="2019-04-09T21:49:59.731" v="1195" actId="478"/>
          <ac:spMkLst>
            <pc:docMk/>
            <pc:sldMk cId="1989308942" sldId="2548"/>
            <ac:spMk id="9" creationId="{40198B7A-BC23-40D9-9122-6F26EBE0C79B}"/>
          </ac:spMkLst>
        </pc:spChg>
        <pc:picChg chg="add del mod">
          <ac:chgData name="Velikov, Stefan" userId="cb0f07b0-744d-4c0b-8f92-cdd309909756" providerId="ADAL" clId="{E1A6FCA2-5750-41C2-99A7-C3BC4747BD14}" dt="2019-04-09T21:50:43.032" v="1201" actId="478"/>
          <ac:picMkLst>
            <pc:docMk/>
            <pc:sldMk cId="1989308942" sldId="2548"/>
            <ac:picMk id="10" creationId="{0CA0ADC3-793C-4E78-AF6E-7924F8B00990}"/>
          </ac:picMkLst>
        </pc:picChg>
        <pc:picChg chg="add">
          <ac:chgData name="Velikov, Stefan" userId="cb0f07b0-744d-4c0b-8f92-cdd309909756" providerId="ADAL" clId="{E1A6FCA2-5750-41C2-99A7-C3BC4747BD14}" dt="2019-04-09T21:50:33.007" v="1198"/>
          <ac:picMkLst>
            <pc:docMk/>
            <pc:sldMk cId="1989308942" sldId="2548"/>
            <ac:picMk id="11" creationId="{79D95869-27B8-42E3-8BD3-6913BEA3005C}"/>
          </ac:picMkLst>
        </pc:picChg>
      </pc:sldChg>
      <pc:sldChg chg="addSp delSp modSp add">
        <pc:chgData name="Velikov, Stefan" userId="cb0f07b0-744d-4c0b-8f92-cdd309909756" providerId="ADAL" clId="{E1A6FCA2-5750-41C2-99A7-C3BC4747BD14}" dt="2019-04-09T21:51:58.216" v="1247" actId="1076"/>
        <pc:sldMkLst>
          <pc:docMk/>
          <pc:sldMk cId="1498986510" sldId="2549"/>
        </pc:sldMkLst>
        <pc:spChg chg="mod">
          <ac:chgData name="Velikov, Stefan" userId="cb0f07b0-744d-4c0b-8f92-cdd309909756" providerId="ADAL" clId="{E1A6FCA2-5750-41C2-99A7-C3BC4747BD14}" dt="2019-04-09T21:51:03.538" v="1208" actId="20577"/>
          <ac:spMkLst>
            <pc:docMk/>
            <pc:sldMk cId="1498986510" sldId="2549"/>
            <ac:spMk id="6" creationId="{B4DC0C63-A224-4FDB-8B68-D7197B27FB28}"/>
          </ac:spMkLst>
        </pc:spChg>
        <pc:spChg chg="del">
          <ac:chgData name="Velikov, Stefan" userId="cb0f07b0-744d-4c0b-8f92-cdd309909756" providerId="ADAL" clId="{E1A6FCA2-5750-41C2-99A7-C3BC4747BD14}" dt="2019-04-09T21:51:52.702" v="1244" actId="478"/>
          <ac:spMkLst>
            <pc:docMk/>
            <pc:sldMk cId="1498986510" sldId="2549"/>
            <ac:spMk id="7" creationId="{60832180-CD78-45FD-A7D2-F342F1074F42}"/>
          </ac:spMkLst>
        </pc:spChg>
        <pc:spChg chg="add del mod">
          <ac:chgData name="Velikov, Stefan" userId="cb0f07b0-744d-4c0b-8f92-cdd309909756" providerId="ADAL" clId="{E1A6FCA2-5750-41C2-99A7-C3BC4747BD14}" dt="2019-04-09T21:51:53.941" v="1245" actId="478"/>
          <ac:spMkLst>
            <pc:docMk/>
            <pc:sldMk cId="1498986510" sldId="2549"/>
            <ac:spMk id="9" creationId="{79BA5601-05E8-4CD7-98A6-CAC51CD285B7}"/>
          </ac:spMkLst>
        </pc:spChg>
        <pc:picChg chg="add mod">
          <ac:chgData name="Velikov, Stefan" userId="cb0f07b0-744d-4c0b-8f92-cdd309909756" providerId="ADAL" clId="{E1A6FCA2-5750-41C2-99A7-C3BC4747BD14}" dt="2019-04-09T21:51:58.216" v="1247" actId="1076"/>
          <ac:picMkLst>
            <pc:docMk/>
            <pc:sldMk cId="1498986510" sldId="2549"/>
            <ac:picMk id="10" creationId="{875716F3-58C2-4E86-9876-2D43CF006CE1}"/>
          </ac:picMkLst>
        </pc:picChg>
      </pc:sldChg>
      <pc:sldChg chg="add del">
        <pc:chgData name="Velikov, Stefan" userId="cb0f07b0-744d-4c0b-8f92-cdd309909756" providerId="ADAL" clId="{E1A6FCA2-5750-41C2-99A7-C3BC4747BD14}" dt="2019-04-09T21:52:30.382" v="1248" actId="2696"/>
        <pc:sldMkLst>
          <pc:docMk/>
          <pc:sldMk cId="3525648052" sldId="2550"/>
        </pc:sldMkLst>
      </pc:sldChg>
      <pc:sldChg chg="delSp modSp add">
        <pc:chgData name="Velikov, Stefan" userId="cb0f07b0-744d-4c0b-8f92-cdd309909756" providerId="ADAL" clId="{E1A6FCA2-5750-41C2-99A7-C3BC4747BD14}" dt="2019-04-09T21:51:28.682" v="1243" actId="14100"/>
        <pc:sldMkLst>
          <pc:docMk/>
          <pc:sldMk cId="4255333501" sldId="2551"/>
        </pc:sldMkLst>
        <pc:spChg chg="mod">
          <ac:chgData name="Velikov, Stefan" userId="cb0f07b0-744d-4c0b-8f92-cdd309909756" providerId="ADAL" clId="{E1A6FCA2-5750-41C2-99A7-C3BC4747BD14}" dt="2019-04-09T21:51:24.530" v="1242" actId="20577"/>
          <ac:spMkLst>
            <pc:docMk/>
            <pc:sldMk cId="4255333501" sldId="2551"/>
            <ac:spMk id="6" creationId="{B4DC0C63-A224-4FDB-8B68-D7197B27FB28}"/>
          </ac:spMkLst>
        </pc:spChg>
        <pc:picChg chg="mod">
          <ac:chgData name="Velikov, Stefan" userId="cb0f07b0-744d-4c0b-8f92-cdd309909756" providerId="ADAL" clId="{E1A6FCA2-5750-41C2-99A7-C3BC4747BD14}" dt="2019-04-09T21:51:28.682" v="1243" actId="14100"/>
          <ac:picMkLst>
            <pc:docMk/>
            <pc:sldMk cId="4255333501" sldId="2551"/>
            <ac:picMk id="10" creationId="{0CA0ADC3-793C-4E78-AF6E-7924F8B00990}"/>
          </ac:picMkLst>
        </pc:picChg>
        <pc:picChg chg="del">
          <ac:chgData name="Velikov, Stefan" userId="cb0f07b0-744d-4c0b-8f92-cdd309909756" providerId="ADAL" clId="{E1A6FCA2-5750-41C2-99A7-C3BC4747BD14}" dt="2019-04-09T21:50:36.572" v="1200" actId="478"/>
          <ac:picMkLst>
            <pc:docMk/>
            <pc:sldMk cId="4255333501" sldId="2551"/>
            <ac:picMk id="11" creationId="{79D95869-27B8-42E3-8BD3-6913BEA3005C}"/>
          </ac:picMkLst>
        </pc:picChg>
      </pc:sldChg>
      <pc:sldChg chg="modSp add ord">
        <pc:chgData name="Velikov, Stefan" userId="cb0f07b0-744d-4c0b-8f92-cdd309909756" providerId="ADAL" clId="{E1A6FCA2-5750-41C2-99A7-C3BC4747BD14}" dt="2019-04-09T21:53:00.112" v="1275" actId="20577"/>
        <pc:sldMkLst>
          <pc:docMk/>
          <pc:sldMk cId="4171972565" sldId="2552"/>
        </pc:sldMkLst>
        <pc:spChg chg="mod">
          <ac:chgData name="Velikov, Stefan" userId="cb0f07b0-744d-4c0b-8f92-cdd309909756" providerId="ADAL" clId="{E1A6FCA2-5750-41C2-99A7-C3BC4747BD14}" dt="2019-04-09T21:53:00.112" v="1275" actId="20577"/>
          <ac:spMkLst>
            <pc:docMk/>
            <pc:sldMk cId="4171972565" sldId="2552"/>
            <ac:spMk id="2" creationId="{C5F09162-2E75-4889-970F-E2108E4F0EA8}"/>
          </ac:spMkLst>
        </pc:spChg>
      </pc:sldChg>
      <pc:sldChg chg="addSp delSp modSp add">
        <pc:chgData name="Velikov, Stefan" userId="cb0f07b0-744d-4c0b-8f92-cdd309909756" providerId="ADAL" clId="{E1A6FCA2-5750-41C2-99A7-C3BC4747BD14}" dt="2019-04-09T22:01:01.688" v="1433" actId="1076"/>
        <pc:sldMkLst>
          <pc:docMk/>
          <pc:sldMk cId="165045022" sldId="2553"/>
        </pc:sldMkLst>
        <pc:spChg chg="mod">
          <ac:chgData name="Velikov, Stefan" userId="cb0f07b0-744d-4c0b-8f92-cdd309909756" providerId="ADAL" clId="{E1A6FCA2-5750-41C2-99A7-C3BC4747BD14}" dt="2019-04-09T21:56:43.886" v="1402" actId="20577"/>
          <ac:spMkLst>
            <pc:docMk/>
            <pc:sldMk cId="165045022" sldId="2553"/>
            <ac:spMk id="6" creationId="{B4DC0C63-A224-4FDB-8B68-D7197B27FB28}"/>
          </ac:spMkLst>
        </pc:spChg>
        <pc:spChg chg="add del mod">
          <ac:chgData name="Velikov, Stefan" userId="cb0f07b0-744d-4c0b-8f92-cdd309909756" providerId="ADAL" clId="{E1A6FCA2-5750-41C2-99A7-C3BC4747BD14}" dt="2019-04-09T21:56:50.217" v="1404" actId="478"/>
          <ac:spMkLst>
            <pc:docMk/>
            <pc:sldMk cId="165045022" sldId="2553"/>
            <ac:spMk id="8" creationId="{6E11D64D-5DFF-45F5-8965-1974F732A222}"/>
          </ac:spMkLst>
        </pc:spChg>
        <pc:picChg chg="add mod">
          <ac:chgData name="Velikov, Stefan" userId="cb0f07b0-744d-4c0b-8f92-cdd309909756" providerId="ADAL" clId="{E1A6FCA2-5750-41C2-99A7-C3BC4747BD14}" dt="2019-04-09T21:58:40.591" v="1417" actId="1076"/>
          <ac:picMkLst>
            <pc:docMk/>
            <pc:sldMk cId="165045022" sldId="2553"/>
            <ac:picMk id="7" creationId="{2EFDAF26-0F48-4BAC-9078-5C7AE1E7C04A}"/>
          </ac:picMkLst>
        </pc:picChg>
        <pc:picChg chg="add mod">
          <ac:chgData name="Velikov, Stefan" userId="cb0f07b0-744d-4c0b-8f92-cdd309909756" providerId="ADAL" clId="{E1A6FCA2-5750-41C2-99A7-C3BC4747BD14}" dt="2019-04-09T21:57:39.863" v="1410" actId="1076"/>
          <ac:picMkLst>
            <pc:docMk/>
            <pc:sldMk cId="165045022" sldId="2553"/>
            <ac:picMk id="9" creationId="{E10E5488-0152-4098-A245-8D60C3AD04F0}"/>
          </ac:picMkLst>
        </pc:picChg>
        <pc:picChg chg="del">
          <ac:chgData name="Velikov, Stefan" userId="cb0f07b0-744d-4c0b-8f92-cdd309909756" providerId="ADAL" clId="{E1A6FCA2-5750-41C2-99A7-C3BC4747BD14}" dt="2019-04-09T21:53:22.314" v="1289" actId="478"/>
          <ac:picMkLst>
            <pc:docMk/>
            <pc:sldMk cId="165045022" sldId="2553"/>
            <ac:picMk id="10" creationId="{0CA0ADC3-793C-4E78-AF6E-7924F8B00990}"/>
          </ac:picMkLst>
        </pc:picChg>
        <pc:picChg chg="add mod">
          <ac:chgData name="Velikov, Stefan" userId="cb0f07b0-744d-4c0b-8f92-cdd309909756" providerId="ADAL" clId="{E1A6FCA2-5750-41C2-99A7-C3BC4747BD14}" dt="2019-04-09T21:58:31.971" v="1414" actId="14100"/>
          <ac:picMkLst>
            <pc:docMk/>
            <pc:sldMk cId="165045022" sldId="2553"/>
            <ac:picMk id="11" creationId="{153331B4-1877-4380-9880-ED7C2034EA69}"/>
          </ac:picMkLst>
        </pc:picChg>
        <pc:picChg chg="add mod">
          <ac:chgData name="Velikov, Stefan" userId="cb0f07b0-744d-4c0b-8f92-cdd309909756" providerId="ADAL" clId="{E1A6FCA2-5750-41C2-99A7-C3BC4747BD14}" dt="2019-04-09T21:58:36.145" v="1416" actId="1076"/>
          <ac:picMkLst>
            <pc:docMk/>
            <pc:sldMk cId="165045022" sldId="2553"/>
            <ac:picMk id="12" creationId="{5B1C7033-7920-4A50-B52A-80125436BD83}"/>
          </ac:picMkLst>
        </pc:picChg>
        <pc:picChg chg="add mod">
          <ac:chgData name="Velikov, Stefan" userId="cb0f07b0-744d-4c0b-8f92-cdd309909756" providerId="ADAL" clId="{E1A6FCA2-5750-41C2-99A7-C3BC4747BD14}" dt="2019-04-09T21:59:06.017" v="1420" actId="1076"/>
          <ac:picMkLst>
            <pc:docMk/>
            <pc:sldMk cId="165045022" sldId="2553"/>
            <ac:picMk id="13" creationId="{6A388F1F-36B4-439A-B33D-469B25D7DDD4}"/>
          </ac:picMkLst>
        </pc:picChg>
        <pc:picChg chg="add mod">
          <ac:chgData name="Velikov, Stefan" userId="cb0f07b0-744d-4c0b-8f92-cdd309909756" providerId="ADAL" clId="{E1A6FCA2-5750-41C2-99A7-C3BC4747BD14}" dt="2019-04-09T21:59:37.027" v="1422" actId="1076"/>
          <ac:picMkLst>
            <pc:docMk/>
            <pc:sldMk cId="165045022" sldId="2553"/>
            <ac:picMk id="14" creationId="{5F2DA2B7-C767-4A56-910D-2A23FED115CF}"/>
          </ac:picMkLst>
        </pc:picChg>
        <pc:picChg chg="add mod">
          <ac:chgData name="Velikov, Stefan" userId="cb0f07b0-744d-4c0b-8f92-cdd309909756" providerId="ADAL" clId="{E1A6FCA2-5750-41C2-99A7-C3BC4747BD14}" dt="2019-04-09T21:59:55.322" v="1424" actId="1076"/>
          <ac:picMkLst>
            <pc:docMk/>
            <pc:sldMk cId="165045022" sldId="2553"/>
            <ac:picMk id="15" creationId="{C274CBA1-A62A-4E63-87CD-9F6BED336C6A}"/>
          </ac:picMkLst>
        </pc:picChg>
        <pc:picChg chg="add mod">
          <ac:chgData name="Velikov, Stefan" userId="cb0f07b0-744d-4c0b-8f92-cdd309909756" providerId="ADAL" clId="{E1A6FCA2-5750-41C2-99A7-C3BC4747BD14}" dt="2019-04-09T22:00:11.476" v="1426" actId="1076"/>
          <ac:picMkLst>
            <pc:docMk/>
            <pc:sldMk cId="165045022" sldId="2553"/>
            <ac:picMk id="16" creationId="{E3B9DCF2-AA45-4468-99A8-6C9B6554A110}"/>
          </ac:picMkLst>
        </pc:picChg>
        <pc:picChg chg="add del mod">
          <ac:chgData name="Velikov, Stefan" userId="cb0f07b0-744d-4c0b-8f92-cdd309909756" providerId="ADAL" clId="{E1A6FCA2-5750-41C2-99A7-C3BC4747BD14}" dt="2019-04-09T22:00:29.103" v="1429" actId="478"/>
          <ac:picMkLst>
            <pc:docMk/>
            <pc:sldMk cId="165045022" sldId="2553"/>
            <ac:picMk id="17" creationId="{CBB76724-4E2E-4887-AE75-723A99A902B5}"/>
          </ac:picMkLst>
        </pc:picChg>
        <pc:picChg chg="add mod">
          <ac:chgData name="Velikov, Stefan" userId="cb0f07b0-744d-4c0b-8f92-cdd309909756" providerId="ADAL" clId="{E1A6FCA2-5750-41C2-99A7-C3BC4747BD14}" dt="2019-04-09T22:00:46.789" v="1431" actId="1076"/>
          <ac:picMkLst>
            <pc:docMk/>
            <pc:sldMk cId="165045022" sldId="2553"/>
            <ac:picMk id="18" creationId="{31B24387-4644-4E6A-A823-D06FA9A4290E}"/>
          </ac:picMkLst>
        </pc:picChg>
        <pc:picChg chg="add mod">
          <ac:chgData name="Velikov, Stefan" userId="cb0f07b0-744d-4c0b-8f92-cdd309909756" providerId="ADAL" clId="{E1A6FCA2-5750-41C2-99A7-C3BC4747BD14}" dt="2019-04-09T22:01:01.688" v="1433" actId="1076"/>
          <ac:picMkLst>
            <pc:docMk/>
            <pc:sldMk cId="165045022" sldId="2553"/>
            <ac:picMk id="19" creationId="{6AC9DC3C-C7F2-4AE7-BF6F-4252211A2B7E}"/>
          </ac:picMkLst>
        </pc:picChg>
      </pc:sldChg>
      <pc:sldChg chg="add">
        <pc:chgData name="Velikov, Stefan" userId="cb0f07b0-744d-4c0b-8f92-cdd309909756" providerId="ADAL" clId="{E1A6FCA2-5750-41C2-99A7-C3BC4747BD14}" dt="2019-04-09T21:56:21.187" v="1367"/>
        <pc:sldMkLst>
          <pc:docMk/>
          <pc:sldMk cId="2895153819" sldId="2554"/>
        </pc:sldMkLst>
      </pc:sldChg>
      <pc:sldChg chg="modSp add">
        <pc:chgData name="Velikov, Stefan" userId="cb0f07b0-744d-4c0b-8f92-cdd309909756" providerId="ADAL" clId="{E1A6FCA2-5750-41C2-99A7-C3BC4747BD14}" dt="2019-04-09T22:01:20.439" v="1451" actId="20577"/>
        <pc:sldMkLst>
          <pc:docMk/>
          <pc:sldMk cId="1838366499" sldId="2555"/>
        </pc:sldMkLst>
        <pc:spChg chg="mod">
          <ac:chgData name="Velikov, Stefan" userId="cb0f07b0-744d-4c0b-8f92-cdd309909756" providerId="ADAL" clId="{E1A6FCA2-5750-41C2-99A7-C3BC4747BD14}" dt="2019-04-09T22:01:20.439" v="1451" actId="20577"/>
          <ac:spMkLst>
            <pc:docMk/>
            <pc:sldMk cId="1838366499" sldId="2555"/>
            <ac:spMk id="2" creationId="{C5F09162-2E75-4889-970F-E2108E4F0EA8}"/>
          </ac:spMkLst>
        </pc:spChg>
      </pc:sldChg>
      <pc:sldMasterChg chg="delSldLayout">
        <pc:chgData name="Velikov, Stefan" userId="cb0f07b0-744d-4c0b-8f92-cdd309909756" providerId="ADAL" clId="{E1A6FCA2-5750-41C2-99A7-C3BC4747BD14}" dt="2019-04-09T17:09:29.022" v="463" actId="2696"/>
        <pc:sldMasterMkLst>
          <pc:docMk/>
          <pc:sldMasterMk cId="31660972" sldId="2147483648"/>
        </pc:sldMasterMkLst>
        <pc:sldLayoutChg chg="del">
          <pc:chgData name="Velikov, Stefan" userId="cb0f07b0-744d-4c0b-8f92-cdd309909756" providerId="ADAL" clId="{E1A6FCA2-5750-41C2-99A7-C3BC4747BD14}" dt="2019-04-09T17:09:29.022" v="463" actId="2696"/>
          <pc:sldLayoutMkLst>
            <pc:docMk/>
            <pc:sldMasterMk cId="31660972" sldId="2147483648"/>
            <pc:sldLayoutMk cId="1321553000" sldId="2147483789"/>
          </pc:sldLayoutMkLst>
        </pc:sldLayoutChg>
      </pc:sldMasterChg>
      <pc:sldMasterChg chg="addSp modTransition">
        <pc:chgData name="Velikov, Stefan" userId="cb0f07b0-744d-4c0b-8f92-cdd309909756" providerId="ADAL" clId="{E1A6FCA2-5750-41C2-99A7-C3BC4747BD14}" dt="2019-04-09T16:46:37.424" v="3"/>
        <pc:sldMasterMkLst>
          <pc:docMk/>
          <pc:sldMasterMk cId="1339777965" sldId="2147483792"/>
        </pc:sldMasterMkLst>
        <pc:spChg chg="add">
          <ac:chgData name="Velikov, Stefan" userId="cb0f07b0-744d-4c0b-8f92-cdd309909756" providerId="ADAL" clId="{E1A6FCA2-5750-41C2-99A7-C3BC4747BD14}" dt="2019-04-09T16:46:31.232" v="0"/>
          <ac:spMkLst>
            <pc:docMk/>
            <pc:sldMasterMk cId="1339777965" sldId="2147483792"/>
            <ac:spMk id="11" creationId="{8DB41601-E220-439E-BA0A-95C8F85B8343}"/>
          </ac:spMkLst>
        </pc:spChg>
        <pc:graphicFrameChg chg="add">
          <ac:chgData name="Velikov, Stefan" userId="cb0f07b0-744d-4c0b-8f92-cdd309909756" providerId="ADAL" clId="{E1A6FCA2-5750-41C2-99A7-C3BC4747BD14}" dt="2019-04-09T16:46:31.232" v="0"/>
          <ac:graphicFrameMkLst>
            <pc:docMk/>
            <pc:sldMasterMk cId="1339777965" sldId="2147483792"/>
            <ac:graphicFrameMk id="10" creationId="{389AB8A5-9EF4-4451-9B38-B194F69B6906}"/>
          </ac:graphicFrameMkLst>
        </pc:graphicFrameChg>
        <pc:picChg chg="add">
          <ac:chgData name="Velikov, Stefan" userId="cb0f07b0-744d-4c0b-8f92-cdd309909756" providerId="ADAL" clId="{E1A6FCA2-5750-41C2-99A7-C3BC4747BD14}" dt="2019-04-09T16:46:31.232" v="0"/>
          <ac:picMkLst>
            <pc:docMk/>
            <pc:sldMasterMk cId="1339777965" sldId="2147483792"/>
            <ac:picMk id="12" creationId="{60CB5524-75FE-4E66-8BF9-BADC8FF8817B}"/>
          </ac:picMkLst>
        </pc:picChg>
      </pc:sldMasterChg>
      <pc:sldMasterChg chg="addSp modTransition">
        <pc:chgData name="Velikov, Stefan" userId="cb0f07b0-744d-4c0b-8f92-cdd309909756" providerId="ADAL" clId="{E1A6FCA2-5750-41C2-99A7-C3BC4747BD14}" dt="2019-04-09T16:46:36.725" v="2"/>
        <pc:sldMasterMkLst>
          <pc:docMk/>
          <pc:sldMasterMk cId="2123110595" sldId="2147483810"/>
        </pc:sldMasterMkLst>
        <pc:spChg chg="add">
          <ac:chgData name="Velikov, Stefan" userId="cb0f07b0-744d-4c0b-8f92-cdd309909756" providerId="ADAL" clId="{E1A6FCA2-5750-41C2-99A7-C3BC4747BD14}" dt="2019-04-09T16:46:33.217" v="1"/>
          <ac:spMkLst>
            <pc:docMk/>
            <pc:sldMasterMk cId="2123110595" sldId="2147483810"/>
            <ac:spMk id="11" creationId="{59493034-2DB6-45CE-B961-0CB77080ED1F}"/>
          </ac:spMkLst>
        </pc:spChg>
        <pc:graphicFrameChg chg="add">
          <ac:chgData name="Velikov, Stefan" userId="cb0f07b0-744d-4c0b-8f92-cdd309909756" providerId="ADAL" clId="{E1A6FCA2-5750-41C2-99A7-C3BC4747BD14}" dt="2019-04-09T16:46:33.217" v="1"/>
          <ac:graphicFrameMkLst>
            <pc:docMk/>
            <pc:sldMasterMk cId="2123110595" sldId="2147483810"/>
            <ac:graphicFrameMk id="10" creationId="{05EACB28-AC9F-4729-B2AB-389296D69E30}"/>
          </ac:graphicFrameMkLst>
        </pc:graphicFrameChg>
        <pc:picChg chg="add">
          <ac:chgData name="Velikov, Stefan" userId="cb0f07b0-744d-4c0b-8f92-cdd309909756" providerId="ADAL" clId="{E1A6FCA2-5750-41C2-99A7-C3BC4747BD14}" dt="2019-04-09T16:46:33.217" v="1"/>
          <ac:picMkLst>
            <pc:docMk/>
            <pc:sldMasterMk cId="2123110595" sldId="2147483810"/>
            <ac:picMk id="12" creationId="{0BBD3501-C923-4ED4-A859-40CC14C1B6DB}"/>
          </ac:picMkLst>
        </pc:pic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19E0A91-41BB-4851-AE6C-16903B76021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C454D53-32CA-4B34-A05F-67B6E32957A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7914F0-6D72-404F-B47B-9D88B0494081}" type="datetimeFigureOut">
              <a:rPr lang="de-DE" smtClean="0"/>
              <a:t>09.04.20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AAC8398-A2B3-4D54-BC35-0E80DE4D700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2DAB587-FA44-4336-B11E-83E5705ED26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B32210-F3C3-4D44-8D5B-288AAEFAE10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152326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26B25D-0D93-4698-BC20-07F10F781801}" type="datetimeFigureOut">
              <a:rPr lang="de-DE" smtClean="0"/>
              <a:t>09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CE5A7E-662E-4092-92D4-FEFF268D9E3E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02565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.xml"/><Relationship Id="rId7" Type="http://schemas.openxmlformats.org/officeDocument/2006/relationships/image" Target="../media/image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3.xml"/><Relationship Id="rId7" Type="http://schemas.openxmlformats.org/officeDocument/2006/relationships/image" Target="../media/image5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5.xml"/><Relationship Id="rId7" Type="http://schemas.openxmlformats.org/officeDocument/2006/relationships/image" Target="../media/image6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7.xml"/><Relationship Id="rId7" Type="http://schemas.openxmlformats.org/officeDocument/2006/relationships/image" Target="../media/image7.jp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2.pn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F62BB54-9E74-4073-B5B8-25A0DDC01D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545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F62BB54-9E74-4073-B5B8-25A0DDC01D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6BD4750-C10D-44A8-9459-858D99CD01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98259268-9714-44CC-A2C7-58556D4CFF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0A316F3-A2DE-46B4-92AA-BF11BC6F5FFA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03950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D85E039-43B5-47F3-B6B5-2744629A926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B4461595-1EEC-40FA-B979-62C5B7A9EA24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9DA597B-3437-4983-ADA1-C0A2EFFC6D5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D0760B3-7C3D-4AA1-95E9-A5AE83B9C752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F5707BF-C0FF-4488-BFC1-DCE99B0BBF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2189124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ADB96936-4807-4578-8EB2-6ECD168BFE6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5640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ADB96936-4807-4578-8EB2-6ECD168BFE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441FDCE-2983-41C6-8A78-57C9BD2AA6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6F9F56-E34A-4D7E-9409-58F2482EFAFA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37F05EA4-D3CA-42BD-BE16-DE4F10B14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53953175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624FB37B-3025-4DE4-9926-B6DFCC0B1C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59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624FB37B-3025-4DE4-9926-B6DFCC0B1C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BA53803A-858A-4ABA-ACA8-350C72736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3110B0BD-4F20-4AD2-A47E-04397F684BE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7" name="Bildplatzhalter 4">
            <a:extLst>
              <a:ext uri="{FF2B5EF4-FFF2-40B4-BE49-F238E27FC236}">
                <a16:creationId xmlns:a16="http://schemas.microsoft.com/office/drawing/2014/main" id="{C2FBF6A0-2A98-4272-801F-E5E5C8A9330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521F19F4-0081-405A-9FFC-547D935336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638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0" name="Bildplatzhalter 4">
            <a:extLst>
              <a:ext uri="{FF2B5EF4-FFF2-40B4-BE49-F238E27FC236}">
                <a16:creationId xmlns:a16="http://schemas.microsoft.com/office/drawing/2014/main" id="{71EDF6C2-AA7D-4F89-A67F-8717496E07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6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A1396492-B460-420D-A8AE-A4D8D0B3E3F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127600" y="342720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A9C5461-D5EA-4602-ABFD-1AB77F41D5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BA284F-32CF-4DF7-AF2C-EC40DEFAF5EF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DE7ED74-CE7B-4C24-A77C-517CCBBD3F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02B3C37-C8E0-45AA-8EEB-A47F4840C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Bildplatzhalter 4">
            <a:extLst>
              <a:ext uri="{FF2B5EF4-FFF2-40B4-BE49-F238E27FC236}">
                <a16:creationId xmlns:a16="http://schemas.microsoft.com/office/drawing/2014/main" id="{EF5BD2D1-6604-482B-B501-CC3B55774AD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4063800" y="0"/>
            <a:ext cx="4064400" cy="34308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3CABFA-1BF9-438F-8452-5E6A60B02B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3632514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2557" userDrawn="1">
          <p15:clr>
            <a:srgbClr val="FBAE40"/>
          </p15:clr>
        </p15:guide>
        <p15:guide id="4" pos="511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7FCEEC-0D90-4D99-84C3-1BA15F089C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4128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7FCEEC-0D90-4D99-84C3-1BA15F089C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E4F6CE-F90A-4909-A94B-E78C7877F25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42" r="190" b="7942"/>
          <a:stretch/>
        </p:blipFill>
        <p:spPr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67" name="Hintergrund blau">
            <a:extLst>
              <a:ext uri="{FF2B5EF4-FFF2-40B4-BE49-F238E27FC236}">
                <a16:creationId xmlns:a16="http://schemas.microsoft.com/office/drawing/2014/main" id="{92D1A1E9-30AB-4CF9-B3D9-540CC04A2F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F5D34B-0283-4D01-B492-5FEAE9C0355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7C1E203-03F3-45D4-B40C-A97FDCB607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C82C160E-FC3B-4FBE-84E5-B08BEC955CA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024590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3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3" grpId="0" build="p"/>
      <p:bldP spid="2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7CE700-B116-4ED5-95C6-B3F23A7E5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489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7CE700-B116-4ED5-95C6-B3F23A7E5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105401-669D-4E45-A66B-FA4B2B560CD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28" t="3011" r="16949" b="28626"/>
          <a:stretch/>
        </p:blipFill>
        <p:spPr>
          <a:xfrm>
            <a:off x="0" y="0"/>
            <a:ext cx="121932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83A1F15-D191-49B1-929B-1F0218123F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20BE90D-534B-4E9E-A877-631D9D827E7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E03E52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eaLnBrk="1"/>
            <a:endParaRPr lang="en-US" noProof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6B5D94AD-F196-49BF-AF5D-11ED7A32952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54B83628-2DB9-46D3-8D97-3DE0C3FD1DC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6EFA8792-8BE1-48F6-ACBE-6158CAE8FC2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665109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2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19" grpId="0" animBg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5C2A8C6-B441-40FC-9250-FBB47A9A52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0567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5C2A8C6-B441-40FC-9250-FBB47A9A5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D6F123-2534-43D7-9298-3B0E4429453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" t="17312" r="16599" b="14607"/>
          <a:stretch/>
        </p:blipFill>
        <p:spPr>
          <a:xfrm flipH="1">
            <a:off x="0" y="0"/>
            <a:ext cx="12193200" cy="6858000"/>
          </a:xfrm>
          <a:prstGeom prst="rect">
            <a:avLst/>
          </a:prstGeom>
        </p:spPr>
      </p:pic>
      <p:sp>
        <p:nvSpPr>
          <p:cNvPr id="21" name="Ovelay">
            <a:extLst>
              <a:ext uri="{FF2B5EF4-FFF2-40B4-BE49-F238E27FC236}">
                <a16:creationId xmlns:a16="http://schemas.microsoft.com/office/drawing/2014/main" id="{483A1F15-D191-49B1-929B-1F0218123F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AC9E3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24" name="hellgrün 1">
            <a:extLst>
              <a:ext uri="{FF2B5EF4-FFF2-40B4-BE49-F238E27FC236}">
                <a16:creationId xmlns:a16="http://schemas.microsoft.com/office/drawing/2014/main" id="{0A552650-4A2A-4A1A-9824-581B7EF99CF3}"/>
              </a:ext>
            </a:extLst>
          </p:cNvPr>
          <p:cNvSpPr/>
          <p:nvPr userDrawn="1"/>
        </p:nvSpPr>
        <p:spPr>
          <a:xfrm>
            <a:off x="7572608" y="0"/>
            <a:ext cx="4625478" cy="6858000"/>
          </a:xfrm>
          <a:prstGeom prst="rect">
            <a:avLst/>
          </a:prstGeom>
          <a:solidFill>
            <a:srgbClr val="B5E3D8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25" name="violett 50%">
            <a:extLst>
              <a:ext uri="{FF2B5EF4-FFF2-40B4-BE49-F238E27FC236}">
                <a16:creationId xmlns:a16="http://schemas.microsoft.com/office/drawing/2014/main" id="{A4140D85-ADA5-41CF-B396-631F3A91EACE}"/>
              </a:ext>
            </a:extLst>
          </p:cNvPr>
          <p:cNvSpPr/>
          <p:nvPr userDrawn="1"/>
        </p:nvSpPr>
        <p:spPr>
          <a:xfrm>
            <a:off x="875784" y="0"/>
            <a:ext cx="1549699" cy="6858000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127886F5-348A-489F-9A5A-02E9E01FE1FC}"/>
              </a:ext>
            </a:extLst>
          </p:cNvPr>
          <p:cNvGrpSpPr/>
          <p:nvPr userDrawn="1"/>
        </p:nvGrpSpPr>
        <p:grpSpPr>
          <a:xfrm>
            <a:off x="1586704" y="0"/>
            <a:ext cx="2048228" cy="6858000"/>
            <a:chOff x="4619031" y="0"/>
            <a:chExt cx="5616624" cy="8571706"/>
          </a:xfrm>
          <a:solidFill>
            <a:srgbClr val="B5E3D8">
              <a:alpha val="50000"/>
            </a:srgbClr>
          </a:solidFill>
        </p:grpSpPr>
        <p:sp>
          <p:nvSpPr>
            <p:cNvPr id="27" name="pink 1">
              <a:extLst>
                <a:ext uri="{FF2B5EF4-FFF2-40B4-BE49-F238E27FC236}">
                  <a16:creationId xmlns:a16="http://schemas.microsoft.com/office/drawing/2014/main" id="{A4CBD221-E2A9-42EA-86D6-4D21B139D071}"/>
                </a:ext>
              </a:extLst>
            </p:cNvPr>
            <p:cNvSpPr/>
            <p:nvPr/>
          </p:nvSpPr>
          <p:spPr>
            <a:xfrm>
              <a:off x="4619031" y="793"/>
              <a:ext cx="5616624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28" name="pink 1">
              <a:extLst>
                <a:ext uri="{FF2B5EF4-FFF2-40B4-BE49-F238E27FC236}">
                  <a16:creationId xmlns:a16="http://schemas.microsoft.com/office/drawing/2014/main" id="{912956EF-AB6F-44D9-94AA-5BC051A72DAE}"/>
                </a:ext>
              </a:extLst>
            </p:cNvPr>
            <p:cNvSpPr/>
            <p:nvPr/>
          </p:nvSpPr>
          <p:spPr>
            <a:xfrm>
              <a:off x="4619031" y="0"/>
              <a:ext cx="3664465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BD64268A-0817-49D8-B3BE-762AAECD8288}"/>
              </a:ext>
            </a:extLst>
          </p:cNvPr>
          <p:cNvGrpSpPr/>
          <p:nvPr userDrawn="1"/>
        </p:nvGrpSpPr>
        <p:grpSpPr>
          <a:xfrm>
            <a:off x="8556773" y="0"/>
            <a:ext cx="3635227" cy="6858000"/>
            <a:chOff x="23464275" y="0"/>
            <a:chExt cx="9968475" cy="8571706"/>
          </a:xfrm>
        </p:grpSpPr>
        <p:sp>
          <p:nvSpPr>
            <p:cNvPr id="30" name="pink 1">
              <a:extLst>
                <a:ext uri="{FF2B5EF4-FFF2-40B4-BE49-F238E27FC236}">
                  <a16:creationId xmlns:a16="http://schemas.microsoft.com/office/drawing/2014/main" id="{E71B4024-9D71-4AF7-A788-3DA363DFC111}"/>
                </a:ext>
              </a:extLst>
            </p:cNvPr>
            <p:cNvSpPr/>
            <p:nvPr/>
          </p:nvSpPr>
          <p:spPr>
            <a:xfrm>
              <a:off x="27816126" y="0"/>
              <a:ext cx="5616624" cy="8570913"/>
            </a:xfrm>
            <a:prstGeom prst="rect">
              <a:avLst/>
            </a:prstGeom>
            <a:solidFill>
              <a:srgbClr val="B5E3D8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31" name="pink 1">
              <a:extLst>
                <a:ext uri="{FF2B5EF4-FFF2-40B4-BE49-F238E27FC236}">
                  <a16:creationId xmlns:a16="http://schemas.microsoft.com/office/drawing/2014/main" id="{4693E7BF-A02D-4D5A-886A-4C6B97776E7A}"/>
                </a:ext>
              </a:extLst>
            </p:cNvPr>
            <p:cNvSpPr/>
            <p:nvPr/>
          </p:nvSpPr>
          <p:spPr>
            <a:xfrm>
              <a:off x="23464275" y="793"/>
              <a:ext cx="5616624" cy="8570913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sp>
        <p:nvSpPr>
          <p:cNvPr id="32" name="violett 50%">
            <a:extLst>
              <a:ext uri="{FF2B5EF4-FFF2-40B4-BE49-F238E27FC236}">
                <a16:creationId xmlns:a16="http://schemas.microsoft.com/office/drawing/2014/main" id="{9FB4F062-510C-4A8D-9AD8-00465F0BD709}"/>
              </a:ext>
            </a:extLst>
          </p:cNvPr>
          <p:cNvSpPr/>
          <p:nvPr userDrawn="1"/>
        </p:nvSpPr>
        <p:spPr>
          <a:xfrm>
            <a:off x="1994163" y="0"/>
            <a:ext cx="6486202" cy="6858000"/>
          </a:xfrm>
          <a:prstGeom prst="rect">
            <a:avLst/>
          </a:prstGeom>
          <a:solidFill>
            <a:srgbClr val="88DBDF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33" name="schwarz 50%">
            <a:extLst>
              <a:ext uri="{FF2B5EF4-FFF2-40B4-BE49-F238E27FC236}">
                <a16:creationId xmlns:a16="http://schemas.microsoft.com/office/drawing/2014/main" id="{B69F4530-C087-4392-B199-01FC51620DB8}"/>
              </a:ext>
            </a:extLst>
          </p:cNvPr>
          <p:cNvSpPr/>
          <p:nvPr userDrawn="1"/>
        </p:nvSpPr>
        <p:spPr>
          <a:xfrm flipH="1">
            <a:off x="0" y="1600"/>
            <a:ext cx="7208025" cy="6858000"/>
          </a:xfrm>
          <a:prstGeom prst="rect">
            <a:avLst/>
          </a:prstGeom>
          <a:solidFill>
            <a:srgbClr val="4AC9E3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34" name="hellgrün 1">
            <a:extLst>
              <a:ext uri="{FF2B5EF4-FFF2-40B4-BE49-F238E27FC236}">
                <a16:creationId xmlns:a16="http://schemas.microsoft.com/office/drawing/2014/main" id="{D06124EE-837A-43CB-BEB5-34E64C480967}"/>
              </a:ext>
            </a:extLst>
          </p:cNvPr>
          <p:cNvSpPr/>
          <p:nvPr userDrawn="1"/>
        </p:nvSpPr>
        <p:spPr>
          <a:xfrm flipH="1">
            <a:off x="7181269" y="0"/>
            <a:ext cx="5010731" cy="6858000"/>
          </a:xfrm>
          <a:prstGeom prst="rect">
            <a:avLst/>
          </a:prstGeom>
          <a:solidFill>
            <a:srgbClr val="4AC9E3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35" name="violett 50%">
            <a:extLst>
              <a:ext uri="{FF2B5EF4-FFF2-40B4-BE49-F238E27FC236}">
                <a16:creationId xmlns:a16="http://schemas.microsoft.com/office/drawing/2014/main" id="{35035361-3DCC-4216-9AAB-5A8800BE8D64}"/>
              </a:ext>
            </a:extLst>
          </p:cNvPr>
          <p:cNvSpPr/>
          <p:nvPr userDrawn="1"/>
        </p:nvSpPr>
        <p:spPr>
          <a:xfrm flipH="1">
            <a:off x="869698" y="0"/>
            <a:ext cx="1549699" cy="6858000"/>
          </a:xfrm>
          <a:prstGeom prst="rect">
            <a:avLst/>
          </a:prstGeom>
          <a:solidFill>
            <a:srgbClr val="007398">
              <a:alpha val="3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EC02AF39-D485-46CD-A2B1-95B37BD0B76C}"/>
              </a:ext>
            </a:extLst>
          </p:cNvPr>
          <p:cNvGrpSpPr/>
          <p:nvPr userDrawn="1"/>
        </p:nvGrpSpPr>
        <p:grpSpPr>
          <a:xfrm flipH="1">
            <a:off x="5211820" y="0"/>
            <a:ext cx="2048228" cy="6858000"/>
            <a:chOff x="4619031" y="0"/>
            <a:chExt cx="5616624" cy="8571706"/>
          </a:xfrm>
          <a:solidFill>
            <a:schemeClr val="bg1">
              <a:alpha val="30000"/>
            </a:schemeClr>
          </a:solidFill>
        </p:grpSpPr>
        <p:sp>
          <p:nvSpPr>
            <p:cNvPr id="37" name="pink 1">
              <a:extLst>
                <a:ext uri="{FF2B5EF4-FFF2-40B4-BE49-F238E27FC236}">
                  <a16:creationId xmlns:a16="http://schemas.microsoft.com/office/drawing/2014/main" id="{94B0DC9C-E726-4A4B-8CE4-73B0E52953F9}"/>
                </a:ext>
              </a:extLst>
            </p:cNvPr>
            <p:cNvSpPr/>
            <p:nvPr/>
          </p:nvSpPr>
          <p:spPr>
            <a:xfrm>
              <a:off x="4619031" y="793"/>
              <a:ext cx="5616624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38" name="pink 1">
              <a:extLst>
                <a:ext uri="{FF2B5EF4-FFF2-40B4-BE49-F238E27FC236}">
                  <a16:creationId xmlns:a16="http://schemas.microsoft.com/office/drawing/2014/main" id="{AD576C6A-4163-459E-8752-79249C9EA61F}"/>
                </a:ext>
              </a:extLst>
            </p:cNvPr>
            <p:cNvSpPr/>
            <p:nvPr/>
          </p:nvSpPr>
          <p:spPr>
            <a:xfrm>
              <a:off x="4619031" y="0"/>
              <a:ext cx="3664465" cy="8570913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grpSp>
        <p:nvGrpSpPr>
          <p:cNvPr id="39" name="Gruppieren 38">
            <a:extLst>
              <a:ext uri="{FF2B5EF4-FFF2-40B4-BE49-F238E27FC236}">
                <a16:creationId xmlns:a16="http://schemas.microsoft.com/office/drawing/2014/main" id="{99F332E9-8721-44D2-AFC8-48795777AEE9}"/>
              </a:ext>
            </a:extLst>
          </p:cNvPr>
          <p:cNvGrpSpPr/>
          <p:nvPr userDrawn="1"/>
        </p:nvGrpSpPr>
        <p:grpSpPr>
          <a:xfrm flipH="1">
            <a:off x="3817381" y="0"/>
            <a:ext cx="8374619" cy="6857366"/>
            <a:chOff x="23464274" y="0"/>
            <a:chExt cx="9968476" cy="8570914"/>
          </a:xfrm>
        </p:grpSpPr>
        <p:sp>
          <p:nvSpPr>
            <p:cNvPr id="40" name="pink 1">
              <a:extLst>
                <a:ext uri="{FF2B5EF4-FFF2-40B4-BE49-F238E27FC236}">
                  <a16:creationId xmlns:a16="http://schemas.microsoft.com/office/drawing/2014/main" id="{39E2DDBB-1B64-451A-AC63-D70B77C28264}"/>
                </a:ext>
              </a:extLst>
            </p:cNvPr>
            <p:cNvSpPr/>
            <p:nvPr/>
          </p:nvSpPr>
          <p:spPr>
            <a:xfrm>
              <a:off x="27816126" y="0"/>
              <a:ext cx="5616624" cy="8570913"/>
            </a:xfrm>
            <a:prstGeom prst="rect">
              <a:avLst/>
            </a:prstGeom>
            <a:solidFill>
              <a:srgbClr val="007398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  <p:sp>
          <p:nvSpPr>
            <p:cNvPr id="41" name="pink 1">
              <a:extLst>
                <a:ext uri="{FF2B5EF4-FFF2-40B4-BE49-F238E27FC236}">
                  <a16:creationId xmlns:a16="http://schemas.microsoft.com/office/drawing/2014/main" id="{A359FF69-56F9-470D-AC96-504C9274DD92}"/>
                </a:ext>
              </a:extLst>
            </p:cNvPr>
            <p:cNvSpPr/>
            <p:nvPr/>
          </p:nvSpPr>
          <p:spPr>
            <a:xfrm>
              <a:off x="23464274" y="0"/>
              <a:ext cx="5616625" cy="8570914"/>
            </a:xfrm>
            <a:prstGeom prst="rect">
              <a:avLst/>
            </a:prstGeom>
            <a:solidFill>
              <a:srgbClr val="4AC9E3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15754" tIns="15754" rIns="6564" bIns="6564" rtlCol="0" anchor="t" anchorCtr="0"/>
            <a:lstStyle/>
            <a:p>
              <a:pPr algn="ctr" eaLnBrk="1">
                <a:lnSpc>
                  <a:spcPct val="105000"/>
                </a:lnSpc>
              </a:pPr>
              <a:endParaRPr lang="en-US" sz="584" noProof="0">
                <a:solidFill>
                  <a:schemeClr val="tx1"/>
                </a:solidFill>
              </a:endParaRPr>
            </a:p>
          </p:txBody>
        </p:sp>
      </p:grpSp>
      <p:sp>
        <p:nvSpPr>
          <p:cNvPr id="42" name="violett 50%">
            <a:extLst>
              <a:ext uri="{FF2B5EF4-FFF2-40B4-BE49-F238E27FC236}">
                <a16:creationId xmlns:a16="http://schemas.microsoft.com/office/drawing/2014/main" id="{A9C6A51B-933B-403C-AF63-BFB7E51B819E}"/>
              </a:ext>
            </a:extLst>
          </p:cNvPr>
          <p:cNvSpPr/>
          <p:nvPr userDrawn="1"/>
        </p:nvSpPr>
        <p:spPr>
          <a:xfrm flipH="1">
            <a:off x="5830876" y="0"/>
            <a:ext cx="6361124" cy="685800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43" name="schwarz 50%">
            <a:extLst>
              <a:ext uri="{FF2B5EF4-FFF2-40B4-BE49-F238E27FC236}">
                <a16:creationId xmlns:a16="http://schemas.microsoft.com/office/drawing/2014/main" id="{1B7B2EB8-7A3E-4E4F-B660-A671E91CC0E1}"/>
              </a:ext>
            </a:extLst>
          </p:cNvPr>
          <p:cNvSpPr/>
          <p:nvPr userDrawn="1"/>
        </p:nvSpPr>
        <p:spPr>
          <a:xfrm flipH="1">
            <a:off x="869321" y="0"/>
            <a:ext cx="7208025" cy="6858000"/>
          </a:xfrm>
          <a:prstGeom prst="rect">
            <a:avLst/>
          </a:prstGeom>
          <a:solidFill>
            <a:srgbClr val="007398">
              <a:alpha val="5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5754" tIns="15754" rIns="6564" bIns="6564" rtlCol="0" anchor="t" anchorCtr="0"/>
          <a:lstStyle/>
          <a:p>
            <a:pPr algn="ctr" eaLnBrk="1">
              <a:lnSpc>
                <a:spcPct val="105000"/>
              </a:lnSpc>
            </a:pPr>
            <a:endParaRPr lang="en-US" sz="584" noProof="0">
              <a:solidFill>
                <a:schemeClr val="tx1"/>
              </a:solidFill>
            </a:endParaRPr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5BEC224B-75E7-410D-B373-AEA0179A6A1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 vert="horz" lIns="0" tIns="0" rIns="0" bIns="0" rtlCol="0">
            <a:normAutofit/>
          </a:bodyPr>
          <a:lstStyle>
            <a:lvl1pPr>
              <a:defRPr lang="de-DE" sz="2800" spc="0" dirty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53" name="Titel 1">
            <a:extLst>
              <a:ext uri="{FF2B5EF4-FFF2-40B4-BE49-F238E27FC236}">
                <a16:creationId xmlns:a16="http://schemas.microsoft.com/office/drawing/2014/main" id="{AFC30694-614C-45F9-A9ED-5A81EA283C2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44" name="Textplatzhalter 5">
            <a:extLst>
              <a:ext uri="{FF2B5EF4-FFF2-40B4-BE49-F238E27FC236}">
                <a16:creationId xmlns:a16="http://schemas.microsoft.com/office/drawing/2014/main" id="{5BD2FC0D-BF93-4F92-8698-C94AFDF869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241446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2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25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" presetClass="exit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5" dur="3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3000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9" dur="40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4000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" presetClass="exit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3" dur="4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40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" presetClass="exit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7" dur="30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30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1" dur="30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3000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2" presetClass="exit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5" dur="2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2000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" presetClass="exit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9" dur="3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30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3" dur="20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20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6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7" dur="3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30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0" presetID="2" presetClass="exit" presetSubtype="2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1" dur="3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30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2" presetClass="exit" presetSubtype="2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5" dur="2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1+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20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2" presetClass="exit" presetSubtype="8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9" dur="3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30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29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25" grpId="0" animBg="1"/>
      <p:bldP spid="32" grpId="0" animBg="1"/>
      <p:bldP spid="33" grpId="0" animBg="1"/>
      <p:bldP spid="34" grpId="0" animBg="1"/>
      <p:bldP spid="35" grpId="0" animBg="1"/>
      <p:bldP spid="42" grpId="0" animBg="1"/>
      <p:bldP spid="43" grpId="0" animBg="1"/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25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53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D1D8688-A76A-4F84-A12E-91B13B8864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6769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D1D8688-A76A-4F84-A12E-91B13B8864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EC11A87-EFC9-4ABF-BCA6-EF0491C8EB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99FB246E-D7EE-4147-9A45-30F05107B9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157" b="11851"/>
          <a:stretch/>
        </p:blipFill>
        <p:spPr>
          <a:xfrm>
            <a:off x="-600" y="0"/>
            <a:ext cx="12193200" cy="6858000"/>
          </a:xfrm>
          <a:prstGeom prst="rect">
            <a:avLst/>
          </a:prstGeom>
        </p:spPr>
      </p:pic>
      <p:sp>
        <p:nvSpPr>
          <p:cNvPr id="21" name="Rechteck 20">
            <a:extLst>
              <a:ext uri="{FF2B5EF4-FFF2-40B4-BE49-F238E27FC236}">
                <a16:creationId xmlns:a16="http://schemas.microsoft.com/office/drawing/2014/main" id="{483A1F15-D191-49B1-929B-1F0218123F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noProof="0"/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BC80ADB3-A155-44CA-A145-0645A0E40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3" name="Titel 1">
            <a:extLst>
              <a:ext uri="{FF2B5EF4-FFF2-40B4-BE49-F238E27FC236}">
                <a16:creationId xmlns:a16="http://schemas.microsoft.com/office/drawing/2014/main" id="{1F3611A6-C50B-4FCF-A816-11509392184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7" name="Textplatzhalter 5">
            <a:extLst>
              <a:ext uri="{FF2B5EF4-FFF2-40B4-BE49-F238E27FC236}">
                <a16:creationId xmlns:a16="http://schemas.microsoft.com/office/drawing/2014/main" id="{FB0D66A4-F0C9-4ED7-84E1-29B894AB87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8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1579376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" dur="6500" fill="hold"/>
                                        <p:tgtEl>
                                          <p:spTgt spid="20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re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958A507-DAFA-42BF-8849-C3CB4289AC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07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958A507-DAFA-42BF-8849-C3CB4289AC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802DE261-04CD-4B94-BD88-3E91949FEA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ot">
            <a:extLst>
              <a:ext uri="{FF2B5EF4-FFF2-40B4-BE49-F238E27FC236}">
                <a16:creationId xmlns:a16="http://schemas.microsoft.com/office/drawing/2014/main" id="{CB574361-3B97-4389-9DE0-5B25DFE5D667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9" name="hellrot">
            <a:extLst>
              <a:ext uri="{FF2B5EF4-FFF2-40B4-BE49-F238E27FC236}">
                <a16:creationId xmlns:a16="http://schemas.microsoft.com/office/drawing/2014/main" id="{C6366DF7-9E3E-4DFD-BC00-8921066868C2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rgbClr val="E03E5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0" name="dunkelrot">
            <a:extLst>
              <a:ext uri="{FF2B5EF4-FFF2-40B4-BE49-F238E27FC236}">
                <a16:creationId xmlns:a16="http://schemas.microsoft.com/office/drawing/2014/main" id="{49C62A64-95AD-449A-AE83-8769CF5416E3}"/>
              </a:ext>
            </a:extLst>
          </p:cNvPr>
          <p:cNvSpPr/>
          <p:nvPr userDrawn="1"/>
        </p:nvSpPr>
        <p:spPr>
          <a:xfrm>
            <a:off x="-600" y="0"/>
            <a:ext cx="121932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US" sz="3038" noProof="0"/>
          </a:p>
        </p:txBody>
      </p:sp>
      <p:sp>
        <p:nvSpPr>
          <p:cNvPr id="11" name="rot">
            <a:extLst>
              <a:ext uri="{FF2B5EF4-FFF2-40B4-BE49-F238E27FC236}">
                <a16:creationId xmlns:a16="http://schemas.microsoft.com/office/drawing/2014/main" id="{74E6412B-E7DD-4AF8-A8F2-7131EEA7149B}"/>
              </a:ext>
            </a:extLst>
          </p:cNvPr>
          <p:cNvSpPr/>
          <p:nvPr userDrawn="1"/>
        </p:nvSpPr>
        <p:spPr>
          <a:xfrm>
            <a:off x="-1200" y="0"/>
            <a:ext cx="121932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6585" tIns="26585" rIns="11077" bIns="11077" rtlCol="0" anchor="t" anchorCtr="0"/>
          <a:lstStyle/>
          <a:p>
            <a:pPr algn="ctr" eaLnBrk="1">
              <a:lnSpc>
                <a:spcPct val="105000"/>
              </a:lnSpc>
            </a:pPr>
            <a:endParaRPr lang="en-US" sz="986" noProof="0">
              <a:solidFill>
                <a:schemeClr val="tx1"/>
              </a:solidFill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6D9BA064-8BEC-4E18-9E5F-8638A855FB3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D6484004-B62C-415E-B446-0AE6DF1C13D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F2F5208C-51E6-4F23-8234-0200112DC98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7281682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4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0" nodeType="withEffect">
                                  <p:stCondLst>
                                    <p:cond delay="4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4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grpId="0" nodeType="withEffect">
                                  <p:stCondLst>
                                    <p:cond delay="8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4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3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Image place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4A1571-31A7-4DD8-ABA6-4621A4E6C5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7849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4A1571-31A7-4DD8-ABA6-4621A4E6C5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C28AF1-92A1-468C-B1F6-04E7F64F14B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BFA8B18D-0993-4FE7-94F1-3D50CD3196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7999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add titl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AA0A45D0-BDC6-47F2-9430-5D76DAC38F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301430" y="524356"/>
            <a:ext cx="1544400" cy="511200"/>
          </a:xfrm>
          <a:blipFill>
            <a:blip r:embed="rId7"/>
            <a:stretch>
              <a:fillRect/>
            </a:stretch>
          </a:blipFill>
        </p:spPr>
        <p:txBody>
          <a:bodyPr/>
          <a:lstStyle/>
          <a:p>
            <a:pPr lvl="0"/>
            <a:r>
              <a:rPr lang="en-US" noProof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87352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C00460-B3CB-4570-89E6-0E2BEAED7D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01614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C00460-B3CB-4570-89E6-0E2BEAED7D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B7DD112-0CE0-4C90-A8A6-710CBF75305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6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Untertitel 2">
            <a:extLst>
              <a:ext uri="{FF2B5EF4-FFF2-40B4-BE49-F238E27FC236}">
                <a16:creationId xmlns:a16="http://schemas.microsoft.com/office/drawing/2014/main" id="{BB76BB7C-9EB3-4744-8A8A-530012181A0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79424" y="4755514"/>
            <a:ext cx="11233149" cy="1408760"/>
          </a:xfrm>
        </p:spPr>
        <p:txBody>
          <a:bodyPr>
            <a:normAutofit/>
          </a:bodyPr>
          <a:lstStyle>
            <a:lvl1pPr marL="0" indent="0" algn="l">
              <a:buNone/>
              <a:defRPr sz="2800" spc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add subtitle</a:t>
            </a:r>
          </a:p>
        </p:txBody>
      </p:sp>
      <p:sp>
        <p:nvSpPr>
          <p:cNvPr id="20" name="Titel 1">
            <a:extLst>
              <a:ext uri="{FF2B5EF4-FFF2-40B4-BE49-F238E27FC236}">
                <a16:creationId xmlns:a16="http://schemas.microsoft.com/office/drawing/2014/main" id="{7000EE5F-C97B-45D9-8069-074DD5C0736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9423" y="1916113"/>
            <a:ext cx="11084867" cy="2603605"/>
          </a:xfrm>
        </p:spPr>
        <p:txBody>
          <a:bodyPr anchor="b">
            <a:noAutofit/>
          </a:bodyPr>
          <a:lstStyle>
            <a:lvl1pPr algn="l">
              <a:defRPr sz="6600" kern="0" cap="none" spc="0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Click to add titl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BAB05F9C-BC44-4723-9206-5F426E4BA32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98606" y="524356"/>
            <a:ext cx="1543624" cy="51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60467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3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9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30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31A2D5-E60C-4BB0-A0CC-A5FB2C716A40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86181990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F51874F-67F5-42E4-934A-9B7E96BC2D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63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F51874F-67F5-42E4-934A-9B7E96BC2D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844B671-E447-4191-8505-43D101A81B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265B5FEF-D611-49E4-9D72-DA783A54B82A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69F6ACA-541A-4611-BF73-5A5116CCCEF2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A915E5C5-0F3C-40B6-AE60-181785B7E6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C4F4A70-2809-4CD1-9143-651E3C7A55E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0B89318-A586-4C32-A8CF-CBF1D042A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302016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47BD3E9-893D-4CCD-8A9B-98022F943EDF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444292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43413B-18DD-49AB-B681-302FC2C2C8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3473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43413B-18DD-49AB-B681-302FC2C2C8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CC2FC1F4-0A24-48B8-9662-BA5C606A3E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03949" y="1700213"/>
            <a:ext cx="5508625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FD26B49F-CCAE-47BE-A80D-261564C756D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47BD3E9-893D-4CCD-8A9B-98022F943EDF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01E7ED81-0E0C-4A0A-998F-99763A037DC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0B02F72-F34A-462E-B197-A7FEC330C39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6E1DCDD-6CB4-4CD0-9F6C-DB6B625795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5665453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-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2D536AB-C999-4AE1-B600-8E88F18242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530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2D536AB-C999-4AE1-B600-8E88F18242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2F73D4F-BA64-453A-BF3A-360ED3B41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7F693E3-7006-45FD-8D55-73813DE0AC0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2962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5CC9C9F-47FD-492D-9A6E-4201CAFC57F1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12125" y="1700213"/>
            <a:ext cx="3600000" cy="43926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1pPr>
            <a:lvl2pPr marL="0" marR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8BCDA0E1-AAF7-44BC-9EAF-26E85CD6175B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8F25103-6B92-4A7E-878E-E6358C34AE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94550029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pos="2701" userDrawn="1">
          <p15:clr>
            <a:srgbClr val="FBAE40"/>
          </p15:clr>
        </p15:guide>
        <p15:guide id="2" pos="2576" userDrawn="1">
          <p15:clr>
            <a:srgbClr val="FBAE40"/>
          </p15:clr>
        </p15:guide>
        <p15:guide id="3" pos="4982" userDrawn="1">
          <p15:clr>
            <a:srgbClr val="FBAE40"/>
          </p15:clr>
        </p15:guide>
        <p15:guide id="4" pos="510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ADD5FD5-B59B-44CF-974E-6D6142FD30E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5" y="476251"/>
            <a:ext cx="3600000" cy="5616574"/>
          </a:xfrm>
        </p:spPr>
        <p:txBody>
          <a:bodyPr rIns="18000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de-DE" sz="32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20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7A07B38-1E3C-4AF2-8E30-4C7291B889B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CE916EED-C1C0-4C07-8ADE-F30C7E09591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638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127600" y="0"/>
            <a:ext cx="4064400" cy="6858000"/>
          </a:xfrm>
        </p:spPr>
        <p:txBody>
          <a:bodyPr/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768134291"/>
      </p:ext>
    </p:extLst>
  </p:cSld>
  <p:clrMapOvr>
    <a:masterClrMapping/>
  </p:clrMapOvr>
  <p:transition spd="slow">
    <p:wipe/>
  </p:transition>
  <p:extLst mod="1"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  <p15:guide id="2" pos="2561" userDrawn="1">
          <p15:clr>
            <a:srgbClr val="FBAE40"/>
          </p15:clr>
        </p15:guide>
        <p15:guide id="3" pos="511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g Images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D6286854-37F7-415C-94A5-EB765F3BD8FF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293FF952-C637-4B66-8635-2BD729FD691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E44522B2-F06F-46A4-B67B-A54ECCA816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961233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big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35CC365E-1451-49E2-87C7-1144346592D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 noProof="0"/>
          </a:p>
        </p:txBody>
      </p:sp>
      <p:sp>
        <p:nvSpPr>
          <p:cNvPr id="19" name="Datumsplatzhalter 18">
            <a:extLst>
              <a:ext uri="{FF2B5EF4-FFF2-40B4-BE49-F238E27FC236}">
                <a16:creationId xmlns:a16="http://schemas.microsoft.com/office/drawing/2014/main" id="{B2C78C3E-9552-467C-A1F6-BE2B88D5970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4E85D14-7C8F-4BC7-A30C-0C03CE2E8D4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20" name="Fußzeilenplatzhalter 19">
            <a:extLst>
              <a:ext uri="{FF2B5EF4-FFF2-40B4-BE49-F238E27FC236}">
                <a16:creationId xmlns:a16="http://schemas.microsoft.com/office/drawing/2014/main" id="{6FCEB5EA-01BD-4908-8EA0-72B6FAF0403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921A9973-E053-4D19-8B8D-CFE97D5D0FA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0E8182E1-0AC6-4F46-B3FB-54439F2539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9424" y="476251"/>
            <a:ext cx="5508625" cy="5616574"/>
          </a:xfrm>
        </p:spPr>
        <p:txBody>
          <a:bodyPr rIns="180000"/>
          <a:lstStyle>
            <a:lvl1pPr>
              <a:lnSpc>
                <a:spcPct val="100000"/>
              </a:lnSpc>
              <a:defRPr lang="de-DE" sz="4800" b="1" kern="1200" cap="none" spc="0" baseline="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>
              <a:defRPr sz="3200" b="1" spc="0" baseline="0"/>
            </a:lvl2pPr>
            <a:lvl3pPr marL="0" indent="0">
              <a:buNone/>
              <a:defRPr spc="0" baseline="0"/>
            </a:lvl3pPr>
            <a:lvl4pPr marL="216000">
              <a:defRPr spc="0" baseline="0"/>
            </a:lvl4pPr>
            <a:lvl5pPr marL="432000">
              <a:defRPr spc="0" baseline="0"/>
            </a:lvl5pPr>
          </a:lstStyle>
          <a:p>
            <a:pPr lvl="0"/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 bene</a:t>
            </a:r>
          </a:p>
          <a:p>
            <a:pPr lvl="4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82231171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A0A741E-6018-49E9-B756-97FF3C8EB2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667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420" imgH="429" progId="TCLayout.ActiveDocument.1">
                  <p:embed/>
                </p:oleObj>
              </mc:Choice>
              <mc:Fallback>
                <p:oleObj name="think-cell Slide" r:id="rId5" imgW="420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A0A741E-6018-49E9-B756-97FF3C8EB2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89668B7-F416-4A25-8559-DF9C5F2C4E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Datumsplatzhalter 12">
            <a:extLst>
              <a:ext uri="{FF2B5EF4-FFF2-40B4-BE49-F238E27FC236}">
                <a16:creationId xmlns:a16="http://schemas.microsoft.com/office/drawing/2014/main" id="{5C05605C-E1E9-4476-B25F-F260CEF7674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31A2D5-E60C-4BB0-A0CC-A5FB2C716A40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14" name="Fußzeilenplatzhalter 13">
            <a:extLst>
              <a:ext uri="{FF2B5EF4-FFF2-40B4-BE49-F238E27FC236}">
                <a16:creationId xmlns:a16="http://schemas.microsoft.com/office/drawing/2014/main" id="{E394DA46-FC2A-48B3-A731-FC73E7B2A5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5" name="Foliennummernplatzhalter 14">
            <a:extLst>
              <a:ext uri="{FF2B5EF4-FFF2-40B4-BE49-F238E27FC236}">
                <a16:creationId xmlns:a16="http://schemas.microsoft.com/office/drawing/2014/main" id="{46557652-012C-42D4-B4F4-BBCDB60FED5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6147BF4-3128-449E-826A-B3A1941E8D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9721716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47F837E3-A352-47C5-896C-79CE216855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DCD2D3E1-BF04-49BA-9ABD-16507134B39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510596DF-A0CD-4CBF-B29B-072B676B80C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6531268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18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vmlDrawing" Target="../drawings/vmlDrawing9.v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9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69CC7DD-C414-48C7-92CF-5967329116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13721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420" imgH="429" progId="TCLayout.ActiveDocument.1">
                  <p:embed/>
                </p:oleObj>
              </mc:Choice>
              <mc:Fallback>
                <p:oleObj name="think-cell Slide" r:id="rId16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69CC7DD-C414-48C7-92CF-5967329116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93CBA3B-EDA1-4EAB-A194-0BADAA9F97A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EB211ED-544F-4BDA-BB93-2D2CD2190C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815075" y="6425409"/>
            <a:ext cx="694899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8A75BE-B104-4D10-B621-844508130452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89F40B-CF1B-4C82-9646-27F14BAFF37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3950" y="6425409"/>
            <a:ext cx="4541747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noProof="0"/>
              <a:t>Nobel Biocare PowerPoint Template 16-9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2C530F1-2606-4CCC-A677-BCE0A07CA5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79352" y="6425409"/>
            <a:ext cx="476250" cy="216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de-DE" sz="800" b="1" smtClean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BAED25-F67B-4389-AF81-088E5999745F}" type="slidenum">
              <a:rPr lang="en-US" noProof="0" smtClean="0"/>
              <a:pPr/>
              <a:t>‹#›</a:t>
            </a:fld>
            <a:endParaRPr lang="en-US" noProof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0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50" r:id="rId2"/>
    <p:sldLayoutId id="2147483665" r:id="rId3"/>
    <p:sldLayoutId id="2147483666" r:id="rId4"/>
    <p:sldLayoutId id="2147483694" r:id="rId5"/>
    <p:sldLayoutId id="2147483695" r:id="rId6"/>
    <p:sldLayoutId id="2147483790" r:id="rId7"/>
    <p:sldLayoutId id="2147483667" r:id="rId8"/>
    <p:sldLayoutId id="2147483668" r:id="rId9"/>
    <p:sldLayoutId id="2147483761" r:id="rId10"/>
    <p:sldLayoutId id="2147483763" r:id="rId11"/>
  </p:sldLayoutIdLst>
  <p:transition spd="slow">
    <p:wipe/>
  </p:transition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3" pos="7378" userDrawn="1">
          <p15:clr>
            <a:srgbClr val="F26B43"/>
          </p15:clr>
        </p15:guide>
        <p15:guide id="4" pos="3772" userDrawn="1">
          <p15:clr>
            <a:srgbClr val="F26B43"/>
          </p15:clr>
        </p15:guide>
        <p15:guide id="5" pos="3908" userDrawn="1">
          <p15:clr>
            <a:srgbClr val="F26B43"/>
          </p15:clr>
        </p15:guide>
        <p15:guide id="6" orient="horz" pos="913" userDrawn="1">
          <p15:clr>
            <a:srgbClr val="F26B43"/>
          </p15:clr>
        </p15:guide>
        <p15:guide id="7" orient="horz" pos="300" userDrawn="1">
          <p15:clr>
            <a:srgbClr val="F26B43"/>
          </p15:clr>
        </p15:guide>
        <p15:guide id="8" orient="horz" pos="1071" userDrawn="1">
          <p15:clr>
            <a:srgbClr val="F26B43"/>
          </p15:clr>
        </p15:guide>
        <p15:guide id="15" orient="horz" pos="3584" userDrawn="1">
          <p15:clr>
            <a:srgbClr val="F26B43"/>
          </p15:clr>
        </p15:guide>
        <p15:guide id="16" orient="horz" pos="3838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948F510-6A42-4D25-BBAD-9CBB223CEA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79013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4" imgW="420" imgH="429" progId="TCLayout.ActiveDocument.1">
                  <p:embed/>
                </p:oleObj>
              </mc:Choice>
              <mc:Fallback>
                <p:oleObj name="think-cell Slide" r:id="rId14" imgW="420" imgH="42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948F510-6A42-4D25-BBAD-9CBB223CEA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2837B11-D288-4477-A01C-8B534B26B2A4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7BE00ACF-1072-4E70-AE8D-F252D480D8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86433"/>
            <a:ext cx="9869359" cy="9629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FDE2C6E-B14A-46FA-8162-F7D3C3A999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700213"/>
            <a:ext cx="11233150" cy="43926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r>
              <a:rPr lang="en-US" noProof="0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</a:t>
            </a:r>
            <a:r>
              <a:rPr lang="en-US" noProof="0" dirty="0"/>
              <a:t>level</a:t>
            </a:r>
            <a:endParaRPr lang="en-US" dirty="0"/>
          </a:p>
          <a:p>
            <a:pPr lvl="2"/>
            <a:r>
              <a:rPr lang="en-US" dirty="0"/>
              <a:t>Third </a:t>
            </a:r>
            <a:r>
              <a:rPr lang="en-US" noProof="0" dirty="0"/>
              <a:t>level</a:t>
            </a:r>
            <a:endParaRPr lang="en-US" dirty="0"/>
          </a:p>
          <a:p>
            <a:pPr lvl="3"/>
            <a:r>
              <a:rPr lang="en-US" dirty="0"/>
              <a:t>Fourth </a:t>
            </a:r>
            <a:r>
              <a:rPr lang="en-US" noProof="0" dirty="0"/>
              <a:t>level</a:t>
            </a:r>
            <a:endParaRPr lang="en-US" dirty="0"/>
          </a:p>
          <a:p>
            <a:pPr lvl="4"/>
            <a:r>
              <a:rPr lang="en-US" dirty="0"/>
              <a:t>Fifth </a:t>
            </a:r>
            <a:r>
              <a:rPr lang="en-US" noProof="0" dirty="0"/>
              <a:t>level</a:t>
            </a:r>
            <a:endParaRPr lang="en-US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B6F840C-2113-4640-8BB0-1DBC3429906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76952" y="523335"/>
            <a:ext cx="1305452" cy="43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684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6" r:id="rId6"/>
    <p:sldLayoutId id="2147483787" r:id="rId7"/>
    <p:sldLayoutId id="2147483791" r:id="rId8"/>
    <p:sldLayoutId id="2147483792" r:id="rId9"/>
  </p:sldLayoutIdLst>
  <p:transition spd="slow">
    <p:wipe/>
  </p:transition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b="1" kern="1200" cap="none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Tx/>
        <a:buFont typeface="Symbol" panose="05050102010706020507" pitchFamily="18" charset="2"/>
        <a:buNone/>
        <a:tabLst/>
        <a:defRPr sz="2000" b="1" kern="1200" cap="none" spc="0" baseline="0">
          <a:solidFill>
            <a:srgbClr val="000000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None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3pPr>
      <a:lvl4pPr marL="432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4pPr>
      <a:lvl5pPr marL="648000" indent="-216000" algn="l" defTabSz="914400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Symbol" panose="05050102010706020507" pitchFamily="18" charset="2"/>
        <a:buChar char="-"/>
        <a:defRPr sz="1600" kern="1200" spc="0" baseline="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02">
          <p15:clr>
            <a:srgbClr val="F26B43"/>
          </p15:clr>
        </p15:guide>
        <p15:guide id="3" pos="7378">
          <p15:clr>
            <a:srgbClr val="F26B43"/>
          </p15:clr>
        </p15:guide>
        <p15:guide id="4" pos="3772">
          <p15:clr>
            <a:srgbClr val="F26B43"/>
          </p15:clr>
        </p15:guide>
        <p15:guide id="5" pos="3908">
          <p15:clr>
            <a:srgbClr val="F26B43"/>
          </p15:clr>
        </p15:guide>
        <p15:guide id="6" orient="horz" pos="913">
          <p15:clr>
            <a:srgbClr val="F26B43"/>
          </p15:clr>
        </p15:guide>
        <p15:guide id="7" orient="horz" pos="300">
          <p15:clr>
            <a:srgbClr val="F26B43"/>
          </p15:clr>
        </p15:guide>
        <p15:guide id="8" orient="horz" pos="1071">
          <p15:clr>
            <a:srgbClr val="F26B43"/>
          </p15:clr>
        </p15:guide>
        <p15:guide id="15" orient="horz" pos="3584">
          <p15:clr>
            <a:srgbClr val="F26B43"/>
          </p15:clr>
        </p15:guide>
        <p15:guide id="16" orient="horz" pos="383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040979C-56B7-407D-AEC6-057BA15A4F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040979C-56B7-407D-AEC6-057BA15A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7FCD3F6-E192-4DB9-B45A-5119F45C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6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5E110CC-241D-4260-A2A8-5D96499307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Block 2 – Lektion 7 &amp; 8</a:t>
            </a:r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09162-2E75-4889-970F-E2108E4F0E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5400" dirty="0"/>
              <a:t>D1 - Vitalzeichen kontrollieren</a:t>
            </a:r>
          </a:p>
        </p:txBody>
      </p:sp>
    </p:spTree>
    <p:extLst>
      <p:ext uri="{BB962C8B-B14F-4D97-AF65-F5344CB8AC3E}">
        <p14:creationId xmlns:p14="http://schemas.microsoft.com/office/powerpoint/2010/main" val="2703618631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040979C-56B7-407D-AEC6-057BA15A4F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040979C-56B7-407D-AEC6-057BA15A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7FCD3F6-E192-4DB9-B45A-5119F45C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6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5E110CC-241D-4260-A2A8-5D96499307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1 - </a:t>
            </a:r>
            <a:r>
              <a:rPr lang="en-US" dirty="0" err="1"/>
              <a:t>Vitalzeichen</a:t>
            </a:r>
            <a:r>
              <a:rPr lang="en-US" dirty="0"/>
              <a:t> </a:t>
            </a:r>
            <a:r>
              <a:rPr lang="en-US" dirty="0" err="1"/>
              <a:t>kontorllieren</a:t>
            </a:r>
            <a:endParaRPr lang="en-US" dirty="0"/>
          </a:p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09162-2E75-4889-970F-E2108E4F0E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 err="1"/>
              <a:t>Einflussfaktoren</a:t>
            </a:r>
            <a:r>
              <a:rPr lang="en-US" sz="5400" dirty="0"/>
              <a:t> auf die </a:t>
            </a:r>
            <a:r>
              <a:rPr lang="en-US" sz="5400" dirty="0" err="1"/>
              <a:t>Vitalzeichen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2873111449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78B4E915-48C3-4488-A30F-C8ECA27BAA16}"/>
              </a:ext>
            </a:extLst>
          </p:cNvPr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CH" dirty="0"/>
              <a:t>Zuerst individuell (2min)</a:t>
            </a:r>
          </a:p>
          <a:p>
            <a:endParaRPr lang="de-CH" dirty="0"/>
          </a:p>
          <a:p>
            <a:r>
              <a:rPr lang="de-CH" dirty="0"/>
              <a:t>Danach zu drit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Ruhewerte eintragen (5mi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Simmulation der Faktoren &amp; Messung (20mi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Physiologischen Vorgang beschreiben (5m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CH" dirty="0"/>
          </a:p>
          <a:p>
            <a:r>
              <a:rPr lang="de-CH" dirty="0"/>
              <a:t>Am Ende Diskussion im Plenum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11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rnaufgabe – Einflussfaktoren (30’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6E7BF74-2BBE-4A7F-93CC-9468530D09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9618" y="1299838"/>
            <a:ext cx="4591724" cy="5173521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722519875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040979C-56B7-407D-AEC6-057BA15A4F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040979C-56B7-407D-AEC6-057BA15A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7FCD3F6-E192-4DB9-B45A-5119F45C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6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5E110CC-241D-4260-A2A8-5D96499307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1 - </a:t>
            </a:r>
            <a:r>
              <a:rPr lang="en-US" dirty="0" err="1"/>
              <a:t>Vitalzeichen</a:t>
            </a:r>
            <a:r>
              <a:rPr lang="en-US" dirty="0"/>
              <a:t> </a:t>
            </a:r>
            <a:r>
              <a:rPr lang="en-US" dirty="0" err="1"/>
              <a:t>kontorllieren</a:t>
            </a:r>
            <a:endParaRPr lang="en-US" dirty="0"/>
          </a:p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09162-2E75-4889-970F-E2108E4F0E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/>
              <a:t>Block 2 - </a:t>
            </a:r>
            <a:r>
              <a:rPr lang="en-US" sz="5400" dirty="0" err="1"/>
              <a:t>Zusammenfassung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4171972565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13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Block 2 – Must know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EFDAF26-0F48-4BAC-9078-5C7AE1E7C0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14104" y="2629876"/>
            <a:ext cx="2662238" cy="20193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10E5488-0152-4098-A245-8D60C3AD04F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425" y="1203960"/>
            <a:ext cx="11266574" cy="96295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153331B4-1877-4380-9880-ED7C2034EA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9425" y="2477453"/>
            <a:ext cx="4267389" cy="175164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B1C7033-7920-4A50-B52A-80125436BD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9425" y="4539639"/>
            <a:ext cx="4531995" cy="161308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A388F1F-36B4-439A-B33D-469B25D7DDD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14104" y="4649176"/>
            <a:ext cx="3015615" cy="15481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F2DA2B7-C767-4A56-910D-2A23FED115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410571" y="3287101"/>
            <a:ext cx="1876425" cy="352425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C274CBA1-A62A-4E63-87CD-9F6BED336C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67733" y="3639526"/>
            <a:ext cx="1562100" cy="2762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3B9DCF2-AA45-4468-99A8-6C9B6554A11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410571" y="3952876"/>
            <a:ext cx="1876425" cy="27622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1B24387-4644-4E6A-A823-D06FA9A4290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24783" y="4418695"/>
            <a:ext cx="3048000" cy="2762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AC9DC3C-C7F2-4AE7-BF6F-4252211A2B7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234358" y="4655914"/>
            <a:ext cx="2228850" cy="228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045022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14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Lernzie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6E11D64D-5DFF-45F5-8965-1974F732A2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8916035" cy="4392612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de-CH" dirty="0"/>
              <a:t>Die Lernenden können ... (K1)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Die Lernenden können ... (K2)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Die Lernenden können die Messmethoden der Vitalzeichen beschreiben und anwenden. (Taxonomiestufe K2/3)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Die Lernenden können Faktoren welche sich auf den Puls, Blutdruck und die Körpertemperatur auswirken erklären. (Taxonomiestufe K2)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Die Lernenden können... (Taxonomiestufe K4)</a:t>
            </a:r>
          </a:p>
        </p:txBody>
      </p:sp>
    </p:spTree>
    <p:extLst>
      <p:ext uri="{BB962C8B-B14F-4D97-AF65-F5344CB8AC3E}">
        <p14:creationId xmlns:p14="http://schemas.microsoft.com/office/powerpoint/2010/main" val="2895153819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040979C-56B7-407D-AEC6-057BA15A4F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040979C-56B7-407D-AEC6-057BA15A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7FCD3F6-E192-4DB9-B45A-5119F45C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6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5E110CC-241D-4260-A2A8-5D96499307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D1 - </a:t>
            </a:r>
            <a:r>
              <a:rPr lang="en-US" dirty="0" err="1"/>
              <a:t>Vitalzeichen</a:t>
            </a:r>
            <a:r>
              <a:rPr lang="en-US" dirty="0"/>
              <a:t> </a:t>
            </a:r>
            <a:r>
              <a:rPr lang="en-US" dirty="0" err="1"/>
              <a:t>kontorllieren</a:t>
            </a:r>
            <a:endParaRPr lang="en-US" dirty="0"/>
          </a:p>
          <a:p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09162-2E75-4889-970F-E2108E4F0E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5400" dirty="0"/>
              <a:t>Block 3 - </a:t>
            </a:r>
            <a:r>
              <a:rPr lang="en-US" sz="5400" dirty="0" err="1"/>
              <a:t>Patophysiologie</a:t>
            </a:r>
            <a:endParaRPr lang="en-US" sz="5400" dirty="0"/>
          </a:p>
        </p:txBody>
      </p:sp>
    </p:spTree>
    <p:extLst>
      <p:ext uri="{BB962C8B-B14F-4D97-AF65-F5344CB8AC3E}">
        <p14:creationId xmlns:p14="http://schemas.microsoft.com/office/powerpoint/2010/main" val="1838366499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FCBAD0-8F8C-42A3-A079-572D0947F46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B786E8-A2A2-4CC5-8BEB-B8C89300D7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FD80EB-FF3B-4CB7-AAD0-7E87DC9F5B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F8D310-D805-4432-843C-05DF138DB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emesterpla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E0B2035-24EF-47DF-8F00-FAADA6B457B9}"/>
              </a:ext>
            </a:extLst>
          </p:cNvPr>
          <p:cNvSpPr/>
          <p:nvPr/>
        </p:nvSpPr>
        <p:spPr>
          <a:xfrm>
            <a:off x="1928464" y="3395502"/>
            <a:ext cx="1800000" cy="948267"/>
          </a:xfrm>
          <a:prstGeom prst="roundRect">
            <a:avLst/>
          </a:prstGeom>
          <a:solidFill>
            <a:srgbClr val="7AE1B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Grundlagen</a:t>
            </a:r>
            <a:endParaRPr lang="de-CH" dirty="0">
              <a:solidFill>
                <a:schemeClr val="tx1"/>
              </a:solidFill>
            </a:endParaRPr>
          </a:p>
          <a:p>
            <a:pPr algn="ctr"/>
            <a:r>
              <a:rPr lang="de-CH" sz="1200" dirty="0">
                <a:solidFill>
                  <a:schemeClr val="tx1"/>
                </a:solidFill>
              </a:rPr>
              <a:t>~10 Lektionen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6EEE8421-DA16-4988-830E-112549720346}"/>
              </a:ext>
            </a:extLst>
          </p:cNvPr>
          <p:cNvSpPr/>
          <p:nvPr/>
        </p:nvSpPr>
        <p:spPr>
          <a:xfrm>
            <a:off x="3909664" y="3395502"/>
            <a:ext cx="1440000" cy="948267"/>
          </a:xfrm>
          <a:prstGeom prst="roundRect">
            <a:avLst/>
          </a:prstGeom>
          <a:solidFill>
            <a:srgbClr val="FED88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Vitalzeichen</a:t>
            </a:r>
          </a:p>
          <a:p>
            <a:pPr algn="ctr"/>
            <a:r>
              <a:rPr lang="de-CH" sz="1200" dirty="0">
                <a:solidFill>
                  <a:schemeClr val="tx1"/>
                </a:solidFill>
              </a:rPr>
              <a:t>~8 Lektionen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BD950E13-D68C-4FA1-B02A-4CAF08E2F72D}"/>
              </a:ext>
            </a:extLst>
          </p:cNvPr>
          <p:cNvSpPr/>
          <p:nvPr/>
        </p:nvSpPr>
        <p:spPr>
          <a:xfrm>
            <a:off x="5530864" y="3395500"/>
            <a:ext cx="1800000" cy="948267"/>
          </a:xfrm>
          <a:prstGeom prst="roundRect">
            <a:avLst/>
          </a:prstGeom>
          <a:solidFill>
            <a:srgbClr val="FFA38B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Pathophysiologie</a:t>
            </a:r>
          </a:p>
          <a:p>
            <a:pPr algn="ctr"/>
            <a:r>
              <a:rPr lang="de-CH" sz="1200" dirty="0">
                <a:solidFill>
                  <a:schemeClr val="tx1"/>
                </a:solidFill>
              </a:rPr>
              <a:t>~10 Lektionen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245FA8E-9C14-4CB6-A694-5AA49E575702}"/>
              </a:ext>
            </a:extLst>
          </p:cNvPr>
          <p:cNvSpPr/>
          <p:nvPr/>
        </p:nvSpPr>
        <p:spPr>
          <a:xfrm>
            <a:off x="7512064" y="3395500"/>
            <a:ext cx="1344334" cy="948267"/>
          </a:xfrm>
          <a:prstGeom prst="roundRect">
            <a:avLst/>
          </a:prstGeom>
          <a:solidFill>
            <a:srgbClr val="E03E5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400" dirty="0">
                <a:solidFill>
                  <a:schemeClr val="tx1"/>
                </a:solidFill>
              </a:rPr>
              <a:t>Berufspraxis</a:t>
            </a:r>
            <a:endParaRPr lang="de-CH" sz="1200" dirty="0">
              <a:solidFill>
                <a:schemeClr val="tx1"/>
              </a:solidFill>
            </a:endParaRPr>
          </a:p>
          <a:p>
            <a:pPr algn="ctr"/>
            <a:r>
              <a:rPr lang="de-CH" sz="1200" dirty="0">
                <a:solidFill>
                  <a:schemeClr val="tx1"/>
                </a:solidFill>
              </a:rPr>
              <a:t>~6 Lektionen</a:t>
            </a: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7670AE1A-F5D6-44C2-901C-E5C295EED7C9}"/>
              </a:ext>
            </a:extLst>
          </p:cNvPr>
          <p:cNvSpPr/>
          <p:nvPr/>
        </p:nvSpPr>
        <p:spPr>
          <a:xfrm>
            <a:off x="9037598" y="3395500"/>
            <a:ext cx="180000" cy="94826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de-CH" sz="1200" dirty="0"/>
              <a:t>Prüfung</a:t>
            </a: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113C02C6-D02E-46F6-B768-C273ABF76E16}"/>
              </a:ext>
            </a:extLst>
          </p:cNvPr>
          <p:cNvSpPr/>
          <p:nvPr/>
        </p:nvSpPr>
        <p:spPr>
          <a:xfrm>
            <a:off x="4989664" y="2667367"/>
            <a:ext cx="360000" cy="601133"/>
          </a:xfrm>
          <a:prstGeom prst="downArrow">
            <a:avLst/>
          </a:prstGeom>
          <a:solidFill>
            <a:srgbClr val="FED88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F5E5F3D-DA51-4D4A-9A80-D3D8FAF89CC0}"/>
              </a:ext>
            </a:extLst>
          </p:cNvPr>
          <p:cNvSpPr/>
          <p:nvPr/>
        </p:nvSpPr>
        <p:spPr>
          <a:xfrm>
            <a:off x="1928464" y="4426848"/>
            <a:ext cx="1800000" cy="1449387"/>
          </a:xfrm>
          <a:prstGeom prst="roundRect">
            <a:avLst/>
          </a:prstGeom>
          <a:solidFill>
            <a:srgbClr val="7AE1B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Anatomie Herz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Herzkreisläuf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Herzklapp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Herzak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Herzkranzgefässe</a:t>
            </a:r>
            <a:endParaRPr lang="de-CH" sz="1600" dirty="0">
              <a:solidFill>
                <a:schemeClr val="tx1"/>
              </a:solidFill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B6D8AA1E-A1CE-4959-AFA9-FBE4C5F2E4F8}"/>
              </a:ext>
            </a:extLst>
          </p:cNvPr>
          <p:cNvSpPr/>
          <p:nvPr/>
        </p:nvSpPr>
        <p:spPr>
          <a:xfrm>
            <a:off x="3909664" y="4426848"/>
            <a:ext cx="1440000" cy="1449387"/>
          </a:xfrm>
          <a:prstGeom prst="roundRect">
            <a:avLst/>
          </a:prstGeom>
          <a:solidFill>
            <a:srgbClr val="FED88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Pu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Blutdru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Temperat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tx1"/>
                </a:solidFill>
              </a:rPr>
              <a:t>Einfluss Faktoren</a:t>
            </a:r>
            <a:endParaRPr lang="de-CH" sz="1100" dirty="0">
              <a:solidFill>
                <a:schemeClr val="tx1"/>
              </a:solidFill>
            </a:endParaRP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EB810F77-0B25-49E6-A784-9F910240B82D}"/>
              </a:ext>
            </a:extLst>
          </p:cNvPr>
          <p:cNvSpPr/>
          <p:nvPr/>
        </p:nvSpPr>
        <p:spPr>
          <a:xfrm>
            <a:off x="1356054" y="1840253"/>
            <a:ext cx="18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4C5DEF8F-8965-4574-BE6D-4B567C4ED5BA}"/>
              </a:ext>
            </a:extLst>
          </p:cNvPr>
          <p:cNvSpPr/>
          <p:nvPr/>
        </p:nvSpPr>
        <p:spPr>
          <a:xfrm>
            <a:off x="1637800" y="1840253"/>
            <a:ext cx="36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E0290310-9B78-4D6F-903E-60BB9A69EDA7}"/>
              </a:ext>
            </a:extLst>
          </p:cNvPr>
          <p:cNvSpPr/>
          <p:nvPr/>
        </p:nvSpPr>
        <p:spPr>
          <a:xfrm>
            <a:off x="2097624" y="1840253"/>
            <a:ext cx="90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EFE5FA58-4D51-41C1-A27B-0FBD4ED79EB3}"/>
              </a:ext>
            </a:extLst>
          </p:cNvPr>
          <p:cNvSpPr/>
          <p:nvPr/>
        </p:nvSpPr>
        <p:spPr>
          <a:xfrm>
            <a:off x="3097448" y="1840252"/>
            <a:ext cx="72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C3C3A39D-2EDB-48A6-A10A-B9B5103822BE}"/>
              </a:ext>
            </a:extLst>
          </p:cNvPr>
          <p:cNvSpPr/>
          <p:nvPr/>
        </p:nvSpPr>
        <p:spPr>
          <a:xfrm>
            <a:off x="3909664" y="1840252"/>
            <a:ext cx="36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92DBE168-234B-43A0-B052-1993962E45F6}"/>
              </a:ext>
            </a:extLst>
          </p:cNvPr>
          <p:cNvSpPr/>
          <p:nvPr/>
        </p:nvSpPr>
        <p:spPr>
          <a:xfrm>
            <a:off x="4359664" y="1840252"/>
            <a:ext cx="1260000" cy="421745"/>
          </a:xfrm>
          <a:prstGeom prst="roundRect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CH" sz="1600" b="1" dirty="0">
                <a:solidFill>
                  <a:schemeClr val="bg1"/>
                </a:solidFill>
              </a:rPr>
              <a:t>D1</a:t>
            </a:r>
            <a:endParaRPr lang="de-CH" sz="1200" b="1" dirty="0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2203F62-F660-4C9A-876C-C8C9E5F01730}"/>
              </a:ext>
            </a:extLst>
          </p:cNvPr>
          <p:cNvSpPr/>
          <p:nvPr/>
        </p:nvSpPr>
        <p:spPr>
          <a:xfrm>
            <a:off x="5709664" y="1840251"/>
            <a:ext cx="36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0D0EB770-2708-4BF4-90BB-EC2AA852B6D4}"/>
              </a:ext>
            </a:extLst>
          </p:cNvPr>
          <p:cNvSpPr/>
          <p:nvPr/>
        </p:nvSpPr>
        <p:spPr>
          <a:xfrm>
            <a:off x="6169488" y="1840251"/>
            <a:ext cx="72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1F09846-4710-4E20-910E-3154EA157B8E}"/>
              </a:ext>
            </a:extLst>
          </p:cNvPr>
          <p:cNvSpPr/>
          <p:nvPr/>
        </p:nvSpPr>
        <p:spPr>
          <a:xfrm>
            <a:off x="6989312" y="1840251"/>
            <a:ext cx="72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A8A473A0-E68F-4944-8A7F-9E42C246D603}"/>
              </a:ext>
            </a:extLst>
          </p:cNvPr>
          <p:cNvSpPr/>
          <p:nvPr/>
        </p:nvSpPr>
        <p:spPr>
          <a:xfrm>
            <a:off x="7809136" y="1847505"/>
            <a:ext cx="90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0A90AA7-170E-47EE-A5BA-BCE4D8EDFDBB}"/>
              </a:ext>
            </a:extLst>
          </p:cNvPr>
          <p:cNvSpPr/>
          <p:nvPr/>
        </p:nvSpPr>
        <p:spPr>
          <a:xfrm>
            <a:off x="8808960" y="1840250"/>
            <a:ext cx="108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467FBF25-9552-4FDF-864A-551716E4706A}"/>
              </a:ext>
            </a:extLst>
          </p:cNvPr>
          <p:cNvSpPr/>
          <p:nvPr/>
        </p:nvSpPr>
        <p:spPr>
          <a:xfrm>
            <a:off x="9988784" y="1847505"/>
            <a:ext cx="360000" cy="421745"/>
          </a:xfrm>
          <a:prstGeom prst="round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sz="1200" dirty="0">
              <a:solidFill>
                <a:schemeClr val="tx1"/>
              </a:solidFill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7FC14FE-07D1-4396-8122-D4D43547DEB2}"/>
              </a:ext>
            </a:extLst>
          </p:cNvPr>
          <p:cNvCxnSpPr>
            <a:stCxn id="20" idx="1"/>
          </p:cNvCxnSpPr>
          <p:nvPr/>
        </p:nvCxnSpPr>
        <p:spPr>
          <a:xfrm flipH="1">
            <a:off x="1928464" y="2051125"/>
            <a:ext cx="2431200" cy="12173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51F0E2E-55F0-4135-B98D-E7344899B886}"/>
              </a:ext>
            </a:extLst>
          </p:cNvPr>
          <p:cNvCxnSpPr>
            <a:cxnSpLocks/>
            <a:stCxn id="20" idx="3"/>
          </p:cNvCxnSpPr>
          <p:nvPr/>
        </p:nvCxnSpPr>
        <p:spPr>
          <a:xfrm>
            <a:off x="5619664" y="2051125"/>
            <a:ext cx="3597934" cy="121737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Arrow: Down 30">
            <a:extLst>
              <a:ext uri="{FF2B5EF4-FFF2-40B4-BE49-F238E27FC236}">
                <a16:creationId xmlns:a16="http://schemas.microsoft.com/office/drawing/2014/main" id="{B635A92F-5A9D-4782-B22F-663C500BB3E2}"/>
              </a:ext>
            </a:extLst>
          </p:cNvPr>
          <p:cNvSpPr/>
          <p:nvPr/>
        </p:nvSpPr>
        <p:spPr>
          <a:xfrm>
            <a:off x="4809664" y="1198915"/>
            <a:ext cx="360000" cy="601133"/>
          </a:xfrm>
          <a:prstGeom prst="downArrow">
            <a:avLst/>
          </a:prstGeom>
          <a:solidFill>
            <a:schemeClr val="tx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399C1B6-1368-4CC5-9F5C-AADBF369447E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050034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FCBAD0-8F8C-42A3-A079-572D0947F46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B786E8-A2A2-4CC5-8BEB-B8C89300D7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FD80EB-FF3B-4CB7-AAD0-7E87DC9F5B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5F8D310-D805-4432-843C-05DF138DB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Rückblick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07840D78-E464-4CB8-ADA3-946E9D587652}"/>
              </a:ext>
            </a:extLst>
          </p:cNvPr>
          <p:cNvSpPr/>
          <p:nvPr/>
        </p:nvSpPr>
        <p:spPr>
          <a:xfrm>
            <a:off x="1100666" y="1979613"/>
            <a:ext cx="1440000" cy="1449387"/>
          </a:xfrm>
          <a:prstGeom prst="roundRect">
            <a:avLst/>
          </a:prstGeom>
          <a:solidFill>
            <a:srgbClr val="FED88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b="1" dirty="0">
                <a:solidFill>
                  <a:schemeClr val="tx1"/>
                </a:solidFill>
              </a:rPr>
              <a:t>Pu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b="1" dirty="0">
                <a:solidFill>
                  <a:schemeClr val="tx1"/>
                </a:solidFill>
              </a:rPr>
              <a:t>Blutdru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bg1">
                    <a:lumMod val="65000"/>
                  </a:schemeClr>
                </a:solidFill>
              </a:rPr>
              <a:t>Temperatu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bg1">
                    <a:lumMod val="65000"/>
                  </a:schemeClr>
                </a:solidFill>
              </a:rPr>
              <a:t>Einfluss Faktoren</a:t>
            </a:r>
            <a:endParaRPr lang="de-CH" sz="11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D96734E2-D388-4377-B643-830A6DE03A2D}"/>
              </a:ext>
            </a:extLst>
          </p:cNvPr>
          <p:cNvSpPr/>
          <p:nvPr/>
        </p:nvSpPr>
        <p:spPr>
          <a:xfrm>
            <a:off x="2836333" y="1979612"/>
            <a:ext cx="6163734" cy="1449387"/>
          </a:xfrm>
          <a:prstGeom prst="round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1200" dirty="0">
                <a:solidFill>
                  <a:schemeClr val="tx1"/>
                </a:solidFill>
              </a:rPr>
              <a:t>Welche Normwerte für Puls und Blutdruck kennst du?</a:t>
            </a:r>
          </a:p>
          <a:p>
            <a:endParaRPr lang="de-CH" sz="1200" dirty="0">
              <a:solidFill>
                <a:schemeClr val="tx1"/>
              </a:solidFill>
            </a:endParaRPr>
          </a:p>
          <a:p>
            <a:r>
              <a:rPr lang="de-CH" sz="1200" dirty="0">
                <a:solidFill>
                  <a:schemeClr val="tx1"/>
                </a:solidFill>
              </a:rPr>
              <a:t>Wie passen die Begriffe Systole und Diastole in diesen Zusammenhang?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2683F4-6CD0-47F6-8616-5B45F6864DDE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35911275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EFA4177-B1AF-4F15-A046-BCA3E1F4614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FCBAD0-8F8C-42A3-A079-572D0947F46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5B786E8-A2A2-4CC5-8BEB-B8C89300D7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FD80EB-FF3B-4CB7-AAD0-7E87DC9F5BF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4</a:t>
            </a:fld>
            <a:endParaRPr lang="en-US" noProof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66CCF38-8662-4062-918C-8391F9DDC7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425" y="730955"/>
            <a:ext cx="11303000" cy="5562669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45F8D310-D805-4432-843C-05DF138DB2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4" y="5099921"/>
            <a:ext cx="9869359" cy="962955"/>
          </a:xfrm>
        </p:spPr>
        <p:txBody>
          <a:bodyPr/>
          <a:lstStyle/>
          <a:p>
            <a:r>
              <a:rPr lang="de-CH" dirty="0">
                <a:solidFill>
                  <a:schemeClr val="bg1"/>
                </a:solidFill>
              </a:rPr>
              <a:t>Um welches Vitalzeichen handelt es sich?</a:t>
            </a:r>
            <a:br>
              <a:rPr lang="de-CH" dirty="0">
                <a:solidFill>
                  <a:schemeClr val="bg1"/>
                </a:solidFill>
              </a:rPr>
            </a:br>
            <a:r>
              <a:rPr lang="de-CH" dirty="0">
                <a:solidFill>
                  <a:schemeClr val="bg1"/>
                </a:solidFill>
              </a:rPr>
              <a:t>Welche Normwerte kennt Ihr dafür?</a:t>
            </a:r>
          </a:p>
        </p:txBody>
      </p:sp>
    </p:spTree>
    <p:extLst>
      <p:ext uri="{BB962C8B-B14F-4D97-AF65-F5344CB8AC3E}">
        <p14:creationId xmlns:p14="http://schemas.microsoft.com/office/powerpoint/2010/main" val="1037534146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0832180-CD78-45FD-A7D2-F342F1074F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9425" y="1700213"/>
            <a:ext cx="7590155" cy="4392612"/>
          </a:xfrm>
        </p:spPr>
        <p:txBody>
          <a:bodyPr/>
          <a:lstStyle/>
          <a:p>
            <a:pPr marL="457200" indent="-457200">
              <a:buAutoNum type="arabicPeriod"/>
            </a:pPr>
            <a:r>
              <a:rPr lang="de-CH" dirty="0"/>
              <a:t>Repetition Puls/Blutdruck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Körpertemperatur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Einflussfaktoren auf die Vitalzeichen (Lernaufgabe)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Zusammenfassung von Block 2 - Vitalzeichen</a:t>
            </a:r>
          </a:p>
          <a:p>
            <a:pPr marL="457200" indent="-457200">
              <a:buAutoNum type="arabicPeriod"/>
            </a:pPr>
            <a:endParaRPr lang="de-CH" dirty="0"/>
          </a:p>
          <a:p>
            <a:pPr marL="457200" indent="-457200">
              <a:buAutoNum type="arabicPeriod"/>
            </a:pPr>
            <a:r>
              <a:rPr lang="de-CH" dirty="0"/>
              <a:t>Ausblick Block 3 - Pathophysiologie</a:t>
            </a:r>
          </a:p>
          <a:p>
            <a:endParaRPr lang="de-CH" dirty="0"/>
          </a:p>
          <a:p>
            <a:endParaRPr lang="de-CH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Inhalt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34390437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040979C-56B7-407D-AEC6-057BA15A4F7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3218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5" imgW="413" imgH="416" progId="TCLayout.ActiveDocument.1">
                  <p:embed/>
                </p:oleObj>
              </mc:Choice>
              <mc:Fallback>
                <p:oleObj name="think-cell Slide" r:id="rId5" imgW="413" imgH="41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040979C-56B7-407D-AEC6-057BA15A4F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47FCD3F6-E192-4DB9-B45A-5119F45C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6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5E110CC-241D-4260-A2A8-5D964993077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D1 - Vitalzeichen kontrollieren</a:t>
            </a:r>
          </a:p>
          <a:p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5F09162-2E75-4889-970F-E2108E4F0E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sz="5400" dirty="0"/>
              <a:t>Körpertemperatur</a:t>
            </a:r>
          </a:p>
        </p:txBody>
      </p:sp>
    </p:spTree>
    <p:extLst>
      <p:ext uri="{BB962C8B-B14F-4D97-AF65-F5344CB8AC3E}">
        <p14:creationId xmlns:p14="http://schemas.microsoft.com/office/powerpoint/2010/main" val="4179923834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Körpertemperatur bei Gesund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A0ADC3-793C-4E78-AF6E-7924F8B009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16275" y="1122466"/>
            <a:ext cx="5987645" cy="5735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5333501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D95869-27B8-42E3-8BD3-6913BEA3005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0900" y="0"/>
            <a:ext cx="54102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308942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0DDC1FD-9C2F-4714-8404-94DA7D96ADD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93FDC5-A627-4C32-994A-4D25498AC2AE}" type="datetime1">
              <a:rPr lang="de-DE" noProof="0" smtClean="0"/>
              <a:t>09.04.2019</a:t>
            </a:fld>
            <a:endParaRPr lang="en-US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AB6F4A-C33D-43D3-8D99-3BB63CCD723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 noProof="0"/>
              <a:t>Nobel Biocare PowerPoint Template 16-9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3FB6BC-5EEF-4A73-9832-2DFE4FAF718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8BAED25-F67B-4389-AF81-088E5999745F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4DC0C63-A224-4FDB-8B68-D7197B27FB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Fieber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AE4382-0DAC-45A4-8376-C7F3B51E28EB}"/>
              </a:ext>
            </a:extLst>
          </p:cNvPr>
          <p:cNvSpPr/>
          <p:nvPr/>
        </p:nvSpPr>
        <p:spPr>
          <a:xfrm>
            <a:off x="9988784" y="336884"/>
            <a:ext cx="2042795" cy="9629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5716F3-58C2-4E86-9876-2D43CF006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03157" y="818361"/>
            <a:ext cx="6791325" cy="3524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8986510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sf8LfbTL.yLDzUPrFM2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64T3gvTeiZ2sUtwAY0G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I7i2zBSLWYTB0oYdur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BaQn7BSzaESTl6794X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NZKYPQzGKf4WeFgP05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5c52yTVSgGvfzEUf7FL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tvE2_sRd2byOcHIPS7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H_790YQA6xYZVro5lQ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vY6LIgRGqwv_lyGkQB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RvjJHFRtOpb9fYtxyIy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qVxtGfT4ac1K8Ow0cl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Y96wtkQhOjaQPmoc3D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vEXjVKSnGFE4.MFNryq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IzGNITfGprbl5rTZ4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IzGNITfGprbl5rTZ4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IzGNITfGprbl5rTZ4e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IzGNITfGprbl5rTZ4e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kIzGNITfGprbl5rTZ4e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hzox3RceBfXhdmnN4w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SQmRKFRnG2Eji.FAuP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3f59jSSmFRYbNKwlggA"/>
</p:tagLst>
</file>

<file path=ppt/theme/theme1.xml><?xml version="1.0" encoding="utf-8"?>
<a:theme xmlns:a="http://schemas.openxmlformats.org/drawingml/2006/main" name="NB 16:9 Template 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2.xml><?xml version="1.0" encoding="utf-8"?>
<a:theme xmlns:a="http://schemas.openxmlformats.org/drawingml/2006/main" name="NB 16:9 Template - Titel and Chapter Slides">
  <a:themeElements>
    <a:clrScheme name="NB PPT Template 2019">
      <a:dk1>
        <a:sysClr val="windowText" lastClr="000000"/>
      </a:dk1>
      <a:lt1>
        <a:sysClr val="window" lastClr="FFFFFF"/>
      </a:lt1>
      <a:dk2>
        <a:srgbClr val="30302F"/>
      </a:dk2>
      <a:lt2>
        <a:srgbClr val="D0D0CE"/>
      </a:lt2>
      <a:accent1>
        <a:srgbClr val="CC0000"/>
      </a:accent1>
      <a:accent2>
        <a:srgbClr val="B1B3B3"/>
      </a:accent2>
      <a:accent3>
        <a:srgbClr val="888B8D"/>
      </a:accent3>
      <a:accent4>
        <a:srgbClr val="30302F"/>
      </a:accent4>
      <a:accent5>
        <a:srgbClr val="D1D3D4"/>
      </a:accent5>
      <a:accent6>
        <a:srgbClr val="8A8D8F"/>
      </a:accent6>
      <a:hlink>
        <a:srgbClr val="CC0000"/>
      </a:hlink>
      <a:folHlink>
        <a:srgbClr val="8A8D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710">
      <a:srgbClr val="E03E52"/>
    </a:custClr>
    <a:custClr name="PMS 1625">
      <a:srgbClr val="FFA38B"/>
    </a:custClr>
    <a:custClr name="PMS 2005">
      <a:srgbClr val="FED880"/>
    </a:custClr>
    <a:custClr name="PMS 3375">
      <a:srgbClr val="7AE1BF"/>
    </a:custClr>
    <a:custClr name="PMS 7468">
      <a:srgbClr val="007398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  <a:custClr name="PMS 0">
      <a:srgbClr val="FFFFFF"/>
    </a:custClr>
  </a:custClrLst>
</a:theme>
</file>

<file path=ppt/theme/theme3.xml><?xml version="1.0" encoding="utf-8"?>
<a:theme xmlns:a="http://schemas.openxmlformats.org/drawingml/2006/main" name="Office">
  <a:themeElements>
    <a:clrScheme name="NBS 2019">
      <a:dk1>
        <a:sysClr val="windowText" lastClr="000000"/>
      </a:dk1>
      <a:lt1>
        <a:sysClr val="window" lastClr="FFFFFF"/>
      </a:lt1>
      <a:dk2>
        <a:srgbClr val="30302F"/>
      </a:dk2>
      <a:lt2>
        <a:srgbClr val="D1D3D4"/>
      </a:lt2>
      <a:accent1>
        <a:srgbClr val="CC0000"/>
      </a:accent1>
      <a:accent2>
        <a:srgbClr val="B1B3B3"/>
      </a:accent2>
      <a:accent3>
        <a:srgbClr val="A5A5A5"/>
      </a:accent3>
      <a:accent4>
        <a:srgbClr val="D1D3D4"/>
      </a:accent4>
      <a:accent5>
        <a:srgbClr val="30302F"/>
      </a:accent5>
      <a:accent6>
        <a:srgbClr val="CC0000"/>
      </a:accent6>
      <a:hlink>
        <a:srgbClr val="CC0000"/>
      </a:hlink>
      <a:folHlink>
        <a:srgbClr val="3F3F3F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MS 2198">
      <a:srgbClr val="4AC9E3"/>
    </a:custClr>
    <a:custClr name="PMS 3375">
      <a:srgbClr val="7AE1BF"/>
    </a:custClr>
    <a:custClr name="PMS 2005">
      <a:srgbClr val="FED880"/>
    </a:custClr>
    <a:custClr name="PMS 170">
      <a:srgbClr val="FF8674"/>
    </a:custClr>
    <a:custClr name="PMS 1785">
      <a:srgbClr val="F8485E"/>
    </a:custClr>
    <a:custClr name="PMS 255">
      <a:srgbClr val="72246C"/>
    </a:custClr>
    <a:custClr name="PMS 2617">
      <a:srgbClr val="470A68"/>
    </a:custClr>
    <a:custClr name="PMS 2747">
      <a:srgbClr val="001A72"/>
    </a:custClr>
    <a:custClr name="PMS 0">
      <a:srgbClr val="FFFFFF"/>
    </a:custClr>
    <a:custClr name="PMS 0">
      <a:srgbClr val="FFFFFF"/>
    </a:custClr>
    <a:custClr name="PMS 318">
      <a:srgbClr val="88DBDF"/>
    </a:custClr>
    <a:custClr name="PMS 573">
      <a:srgbClr val="B5E3D8"/>
    </a:custClr>
    <a:custClr name="PMS 7401">
      <a:srgbClr val="F5E1A4"/>
    </a:custClr>
    <a:custClr name="PMS 1625">
      <a:srgbClr val="FFA38B"/>
    </a:custClr>
    <a:custClr name="PMS 3572">
      <a:srgbClr val="FE9B96"/>
    </a:custClr>
    <a:custClr name="PMS 2064">
      <a:srgbClr val="E0A2D4"/>
    </a:custClr>
    <a:custClr name="PMS 270">
      <a:srgbClr val="B4B5DF"/>
    </a:custClr>
    <a:custClr name="PMS 658">
      <a:srgbClr val="B1C9E8"/>
    </a:custClr>
    <a:custClr name="PMS 0">
      <a:srgbClr val="FFFFFF"/>
    </a:custClr>
    <a:custClr name="PMS 0">
      <a:srgbClr val="FFFFFF"/>
    </a:custClr>
  </a:custClr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4f6e6473-193e-4df1-a3d3-86d02a42e3a4">VEFFRKJSAM67-1772080966-43</_dlc_DocId>
    <_dlc_DocIdUrl xmlns="4f6e6473-193e-4df1-a3d3-86d02a42e3a4">
      <Url>https://danaher.sharepoint.com/sites/den/opco/nobelbiocare/brandcenter/_layouts/15/DocIdRedir.aspx?ID=VEFFRKJSAM67-1772080966-43</Url>
      <Description>VEFFRKJSAM67-1772080966-43</Description>
    </_dlc_DocIdUrl>
    <SharedWithUsers xmlns="827f693d-e98c-49ee-ad4f-6a5916917156">
      <UserInfo>
        <DisplayName>Olivos, Eduardo D</DisplayName>
        <AccountId>17339</AccountId>
        <AccountType/>
      </UserInfo>
      <UserInfo>
        <DisplayName>Hernandez, Maria J</DisplayName>
        <AccountId>10968</AccountId>
        <AccountType/>
      </UserInfo>
      <UserInfo>
        <DisplayName>Maul, Juliana</DisplayName>
        <AccountId>2718</AccountId>
        <AccountType/>
      </UserInfo>
      <UserInfo>
        <DisplayName>Espindola, Carola</DisplayName>
        <AccountId>18497</AccountId>
        <AccountType/>
      </UserInfo>
    </SharedWithUsers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9A4B0FCCF179A4EBEC3E690486E8DB7" ma:contentTypeVersion="1076" ma:contentTypeDescription="Create a new document." ma:contentTypeScope="" ma:versionID="c23404bab934b7079060fadf92acde0d">
  <xsd:schema xmlns:xsd="http://www.w3.org/2001/XMLSchema" xmlns:xs="http://www.w3.org/2001/XMLSchema" xmlns:p="http://schemas.microsoft.com/office/2006/metadata/properties" xmlns:ns2="4f6e6473-193e-4df1-a3d3-86d02a42e3a4" xmlns:ns3="91c75a11-105c-49a6-906a-832be365a131" xmlns:ns4="827f693d-e98c-49ee-ad4f-6a5916917156" targetNamespace="http://schemas.microsoft.com/office/2006/metadata/properties" ma:root="true" ma:fieldsID="78db1e39f954c85f5207924956372921" ns2:_="" ns3:_="" ns4:_="">
    <xsd:import namespace="4f6e6473-193e-4df1-a3d3-86d02a42e3a4"/>
    <xsd:import namespace="91c75a11-105c-49a6-906a-832be365a131"/>
    <xsd:import namespace="827f693d-e98c-49ee-ad4f-6a591691715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6e6473-193e-4df1-a3d3-86d02a42e3a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c75a11-105c-49a6-906a-832be365a13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7f693d-e98c-49ee-ad4f-6a591691715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F9FF21-36FA-4164-8B0C-DBDA4C666A7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BFE11F60-B698-429A-939B-B4D167284A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7AB8D59-57A1-4866-B0AC-8107B5721725}">
  <ds:schemaRefs>
    <ds:schemaRef ds:uri="4f6e6473-193e-4df1-a3d3-86d02a42e3a4"/>
    <ds:schemaRef ds:uri="http://purl.org/dc/terms/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827f693d-e98c-49ee-ad4f-6a5916917156"/>
    <ds:schemaRef ds:uri="91c75a11-105c-49a6-906a-832be365a131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4.xml><?xml version="1.0" encoding="utf-8"?>
<ds:datastoreItem xmlns:ds="http://schemas.openxmlformats.org/officeDocument/2006/customXml" ds:itemID="{2E840D8A-74AE-44A3-8356-45000800F9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6e6473-193e-4df1-a3d3-86d02a42e3a4"/>
    <ds:schemaRef ds:uri="91c75a11-105c-49a6-906a-832be365a131"/>
    <ds:schemaRef ds:uri="827f693d-e98c-49ee-ad4f-6a591691715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BS_PowerPoint_Template_16-9_18102_2</Template>
  <TotalTime>0</TotalTime>
  <Words>284</Words>
  <Application>Microsoft Office PowerPoint</Application>
  <PresentationFormat>Widescreen</PresentationFormat>
  <Paragraphs>95</Paragraphs>
  <Slides>1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1" baseType="lpstr">
      <vt:lpstr>Arial</vt:lpstr>
      <vt:lpstr>Calibri</vt:lpstr>
      <vt:lpstr>Symbol</vt:lpstr>
      <vt:lpstr>NB 16:9 Template </vt:lpstr>
      <vt:lpstr>NB 16:9 Template - Titel and Chapter Slides</vt:lpstr>
      <vt:lpstr>think-cell Slide</vt:lpstr>
      <vt:lpstr>D1 - Vitalzeichen kontrollieren</vt:lpstr>
      <vt:lpstr>Semesterplan</vt:lpstr>
      <vt:lpstr>Rückblick</vt:lpstr>
      <vt:lpstr>Um welches Vitalzeichen handelt es sich? Welche Normwerte kennt Ihr dafür?</vt:lpstr>
      <vt:lpstr>Inhalt</vt:lpstr>
      <vt:lpstr>Körpertemperatur</vt:lpstr>
      <vt:lpstr>Körpertemperatur bei Gesunden</vt:lpstr>
      <vt:lpstr>PowerPoint Presentation</vt:lpstr>
      <vt:lpstr>Fieber</vt:lpstr>
      <vt:lpstr>Einflussfaktoren auf die Vitalzeichen</vt:lpstr>
      <vt:lpstr>Lernaufgabe – Einflussfaktoren (30’)</vt:lpstr>
      <vt:lpstr>Block 2 - Zusammenfassung</vt:lpstr>
      <vt:lpstr>Block 2 – Must knows</vt:lpstr>
      <vt:lpstr>Lernziele</vt:lpstr>
      <vt:lpstr>Block 3 - Patophysiologi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Nadja Schäffer</dc:creator>
  <cp:lastModifiedBy>Velikov, Stefan</cp:lastModifiedBy>
  <cp:revision>445</cp:revision>
  <dcterms:created xsi:type="dcterms:W3CDTF">2018-10-26T08:26:03Z</dcterms:created>
  <dcterms:modified xsi:type="dcterms:W3CDTF">2019-04-09T22:0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9A4B0FCCF179A4EBEC3E690486E8DB7</vt:lpwstr>
  </property>
  <property fmtid="{D5CDD505-2E9C-101B-9397-08002B2CF9AE}" pid="3" name="_dlc_DocIdItemGuid">
    <vt:lpwstr>9dd62035-5d05-4aca-b918-4d2355c211ad</vt:lpwstr>
  </property>
</Properties>
</file>